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384" r:id="rId5"/>
    <p:sldId id="256" r:id="rId6"/>
    <p:sldId id="4512" r:id="rId7"/>
    <p:sldId id="262" r:id="rId8"/>
    <p:sldId id="4514" r:id="rId9"/>
    <p:sldId id="4515" r:id="rId10"/>
    <p:sldId id="2679" r:id="rId11"/>
    <p:sldId id="4517" r:id="rId12"/>
    <p:sldId id="4513" r:id="rId13"/>
    <p:sldId id="382" r:id="rId14"/>
    <p:sldId id="383" r:id="rId15"/>
    <p:sldId id="380" r:id="rId16"/>
  </p:sldIdLst>
  <p:sldSz cx="9144000" cy="5143500" type="screen16x9"/>
  <p:notesSz cx="6858000" cy="9144000"/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BF3FFFD-C098-4740-BA83-AF7494E26753}">
          <p14:sldIdLst>
            <p14:sldId id="384"/>
            <p14:sldId id="256"/>
            <p14:sldId id="4512"/>
            <p14:sldId id="262"/>
            <p14:sldId id="4514"/>
            <p14:sldId id="4515"/>
            <p14:sldId id="2679"/>
            <p14:sldId id="4517"/>
            <p14:sldId id="4513"/>
            <p14:sldId id="382"/>
            <p14:sldId id="383"/>
            <p14:sldId id="3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9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pos="136" userDrawn="1">
          <p15:clr>
            <a:srgbClr val="A4A3A4"/>
          </p15:clr>
        </p15:guide>
        <p15:guide id="5" pos="419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82524A-E39D-4A42-AF03-591BB1A8BD74}" v="35" dt="2023-12-01T17:42:41.3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9663"/>
  </p:normalViewPr>
  <p:slideViewPr>
    <p:cSldViewPr snapToGrid="0" snapToObjects="1" showGuides="1">
      <p:cViewPr varScale="1">
        <p:scale>
          <a:sx n="125" d="100"/>
          <a:sy n="125" d="100"/>
        </p:scale>
        <p:origin x="108" y="48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22" d="100"/>
          <a:sy n="122" d="100"/>
        </p:scale>
        <p:origin x="5072" y="208"/>
      </p:cViewPr>
      <p:guideLst>
        <p:guide orient="horz" pos="2890"/>
        <p:guide pos="2160"/>
        <p:guide orient="horz" pos="373"/>
        <p:guide pos="136"/>
        <p:guide pos="41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uel Cubero-Castan" userId="c483633e-862b-4a42-a73d-f07e3bc2876a" providerId="ADAL" clId="{C882524A-E39D-4A42-AF03-591BB1A8BD74}"/>
    <pc:docChg chg="undo custSel addSld delSld modSld modSection">
      <pc:chgData name="Manuel Cubero-Castan" userId="c483633e-862b-4a42-a73d-f07e3bc2876a" providerId="ADAL" clId="{C882524A-E39D-4A42-AF03-591BB1A8BD74}" dt="2023-12-01T17:42:41.329" v="1288"/>
      <pc:docMkLst>
        <pc:docMk/>
      </pc:docMkLst>
      <pc:sldChg chg="modSp add del mod">
        <pc:chgData name="Manuel Cubero-Castan" userId="c483633e-862b-4a42-a73d-f07e3bc2876a" providerId="ADAL" clId="{C882524A-E39D-4A42-AF03-591BB1A8BD74}" dt="2023-12-01T17:01:39.664" v="78" actId="47"/>
        <pc:sldMkLst>
          <pc:docMk/>
          <pc:sldMk cId="1187968161" sldId="260"/>
        </pc:sldMkLst>
        <pc:spChg chg="mod">
          <ac:chgData name="Manuel Cubero-Castan" userId="c483633e-862b-4a42-a73d-f07e3bc2876a" providerId="ADAL" clId="{C882524A-E39D-4A42-AF03-591BB1A8BD74}" dt="2023-12-01T17:01:13.203" v="76" actId="20577"/>
          <ac:spMkLst>
            <pc:docMk/>
            <pc:sldMk cId="1187968161" sldId="260"/>
            <ac:spMk id="4" creationId="{00000000-0000-0000-0000-000000000000}"/>
          </ac:spMkLst>
        </pc:spChg>
      </pc:sldChg>
      <pc:sldChg chg="modSp add mod">
        <pc:chgData name="Manuel Cubero-Castan" userId="c483633e-862b-4a42-a73d-f07e3bc2876a" providerId="ADAL" clId="{C882524A-E39D-4A42-AF03-591BB1A8BD74}" dt="2023-12-01T17:41:04.958" v="1281" actId="20577"/>
        <pc:sldMkLst>
          <pc:docMk/>
          <pc:sldMk cId="1134098973" sldId="262"/>
        </pc:sldMkLst>
        <pc:spChg chg="mod">
          <ac:chgData name="Manuel Cubero-Castan" userId="c483633e-862b-4a42-a73d-f07e3bc2876a" providerId="ADAL" clId="{C882524A-E39D-4A42-AF03-591BB1A8BD74}" dt="2023-12-01T17:39:07.656" v="1249"/>
          <ac:spMkLst>
            <pc:docMk/>
            <pc:sldMk cId="1134098973" sldId="262"/>
            <ac:spMk id="4" creationId="{DB93B10A-ED1A-8846-97E5-AD42E8205CA3}"/>
          </ac:spMkLst>
        </pc:spChg>
        <pc:spChg chg="mod">
          <ac:chgData name="Manuel Cubero-Castan" userId="c483633e-862b-4a42-a73d-f07e3bc2876a" providerId="ADAL" clId="{C882524A-E39D-4A42-AF03-591BB1A8BD74}" dt="2023-12-01T17:41:04.958" v="1281" actId="20577"/>
          <ac:spMkLst>
            <pc:docMk/>
            <pc:sldMk cId="1134098973" sldId="262"/>
            <ac:spMk id="5" creationId="{E8EF8F98-392F-EF4F-9223-2F5272E0905F}"/>
          </ac:spMkLst>
        </pc:spChg>
      </pc:sldChg>
      <pc:sldChg chg="del">
        <pc:chgData name="Manuel Cubero-Castan" userId="c483633e-862b-4a42-a73d-f07e3bc2876a" providerId="ADAL" clId="{C882524A-E39D-4A42-AF03-591BB1A8BD74}" dt="2023-12-01T16:56:48.084" v="43" actId="47"/>
        <pc:sldMkLst>
          <pc:docMk/>
          <pc:sldMk cId="620713597" sldId="381"/>
        </pc:sldMkLst>
      </pc:sldChg>
      <pc:sldChg chg="modSp mod">
        <pc:chgData name="Manuel Cubero-Castan" userId="c483633e-862b-4a42-a73d-f07e3bc2876a" providerId="ADAL" clId="{C882524A-E39D-4A42-AF03-591BB1A8BD74}" dt="2023-12-01T17:40:28.856" v="1275" actId="20577"/>
        <pc:sldMkLst>
          <pc:docMk/>
          <pc:sldMk cId="3765041828" sldId="382"/>
        </pc:sldMkLst>
        <pc:spChg chg="mod">
          <ac:chgData name="Manuel Cubero-Castan" userId="c483633e-862b-4a42-a73d-f07e3bc2876a" providerId="ADAL" clId="{C882524A-E39D-4A42-AF03-591BB1A8BD74}" dt="2023-12-01T17:13:15.928" v="205" actId="20577"/>
          <ac:spMkLst>
            <pc:docMk/>
            <pc:sldMk cId="3765041828" sldId="382"/>
            <ac:spMk id="2" creationId="{C76CF6A8-D855-4003-A043-21BAD91512B5}"/>
          </ac:spMkLst>
        </pc:spChg>
        <pc:spChg chg="mod">
          <ac:chgData name="Manuel Cubero-Castan" userId="c483633e-862b-4a42-a73d-f07e3bc2876a" providerId="ADAL" clId="{C882524A-E39D-4A42-AF03-591BB1A8BD74}" dt="2023-12-01T17:39:39.953" v="1256"/>
          <ac:spMkLst>
            <pc:docMk/>
            <pc:sldMk cId="3765041828" sldId="382"/>
            <ac:spMk id="4" creationId="{CF3C7049-E80A-4508-AA57-DF4A04AC7D8B}"/>
          </ac:spMkLst>
        </pc:spChg>
        <pc:spChg chg="mod">
          <ac:chgData name="Manuel Cubero-Castan" userId="c483633e-862b-4a42-a73d-f07e3bc2876a" providerId="ADAL" clId="{C882524A-E39D-4A42-AF03-591BB1A8BD74}" dt="2023-12-01T17:40:28.856" v="1275" actId="20577"/>
          <ac:spMkLst>
            <pc:docMk/>
            <pc:sldMk cId="3765041828" sldId="382"/>
            <ac:spMk id="5" creationId="{C96BAC46-E1A0-4F4A-BA1A-E3C0430E67DC}"/>
          </ac:spMkLst>
        </pc:spChg>
      </pc:sldChg>
      <pc:sldChg chg="modSp mod">
        <pc:chgData name="Manuel Cubero-Castan" userId="c483633e-862b-4a42-a73d-f07e3bc2876a" providerId="ADAL" clId="{C882524A-E39D-4A42-AF03-591BB1A8BD74}" dt="2023-12-01T17:40:38.077" v="1277" actId="20577"/>
        <pc:sldMkLst>
          <pc:docMk/>
          <pc:sldMk cId="1230108402" sldId="383"/>
        </pc:sldMkLst>
        <pc:spChg chg="mod">
          <ac:chgData name="Manuel Cubero-Castan" userId="c483633e-862b-4a42-a73d-f07e3bc2876a" providerId="ADAL" clId="{C882524A-E39D-4A42-AF03-591BB1A8BD74}" dt="2023-12-01T16:50:16.662" v="0" actId="2710"/>
          <ac:spMkLst>
            <pc:docMk/>
            <pc:sldMk cId="1230108402" sldId="383"/>
            <ac:spMk id="2" creationId="{8F9DE720-4156-4ADE-9037-53C734E378CE}"/>
          </ac:spMkLst>
        </pc:spChg>
        <pc:spChg chg="mod">
          <ac:chgData name="Manuel Cubero-Castan" userId="c483633e-862b-4a42-a73d-f07e3bc2876a" providerId="ADAL" clId="{C882524A-E39D-4A42-AF03-591BB1A8BD74}" dt="2023-12-01T17:39:42.765" v="1257"/>
          <ac:spMkLst>
            <pc:docMk/>
            <pc:sldMk cId="1230108402" sldId="383"/>
            <ac:spMk id="4" creationId="{65FA6A9D-8FAA-46E2-B182-A57030007B2B}"/>
          </ac:spMkLst>
        </pc:spChg>
        <pc:spChg chg="mod">
          <ac:chgData name="Manuel Cubero-Castan" userId="c483633e-862b-4a42-a73d-f07e3bc2876a" providerId="ADAL" clId="{C882524A-E39D-4A42-AF03-591BB1A8BD74}" dt="2023-12-01T17:40:38.077" v="1277" actId="20577"/>
          <ac:spMkLst>
            <pc:docMk/>
            <pc:sldMk cId="1230108402" sldId="383"/>
            <ac:spMk id="5" creationId="{DFA3C98C-70C9-472E-A8B3-B91E0E963E34}"/>
          </ac:spMkLst>
        </pc:spChg>
      </pc:sldChg>
      <pc:sldChg chg="modSp mod">
        <pc:chgData name="Manuel Cubero-Castan" userId="c483633e-862b-4a42-a73d-f07e3bc2876a" providerId="ADAL" clId="{C882524A-E39D-4A42-AF03-591BB1A8BD74}" dt="2023-12-01T17:41:15.230" v="1285" actId="20577"/>
        <pc:sldMkLst>
          <pc:docMk/>
          <pc:sldMk cId="2937023654" sldId="384"/>
        </pc:sldMkLst>
        <pc:spChg chg="mod">
          <ac:chgData name="Manuel Cubero-Castan" userId="c483633e-862b-4a42-a73d-f07e3bc2876a" providerId="ADAL" clId="{C882524A-E39D-4A42-AF03-591BB1A8BD74}" dt="2023-12-01T17:11:51.724" v="197" actId="20577"/>
          <ac:spMkLst>
            <pc:docMk/>
            <pc:sldMk cId="2937023654" sldId="384"/>
            <ac:spMk id="13" creationId="{C4FDD288-0AE2-85B2-A425-46D01D35C7F9}"/>
          </ac:spMkLst>
        </pc:spChg>
        <pc:spChg chg="mod">
          <ac:chgData name="Manuel Cubero-Castan" userId="c483633e-862b-4a42-a73d-f07e3bc2876a" providerId="ADAL" clId="{C882524A-E39D-4A42-AF03-591BB1A8BD74}" dt="2023-12-01T17:39:58.484" v="1268" actId="20577"/>
          <ac:spMkLst>
            <pc:docMk/>
            <pc:sldMk cId="2937023654" sldId="384"/>
            <ac:spMk id="17" creationId="{6871EC91-BAA6-94F1-35D4-2A29FE11DBD2}"/>
          </ac:spMkLst>
        </pc:spChg>
        <pc:spChg chg="mod">
          <ac:chgData name="Manuel Cubero-Castan" userId="c483633e-862b-4a42-a73d-f07e3bc2876a" providerId="ADAL" clId="{C882524A-E39D-4A42-AF03-591BB1A8BD74}" dt="2023-12-01T17:41:15.230" v="1285" actId="20577"/>
          <ac:spMkLst>
            <pc:docMk/>
            <pc:sldMk cId="2937023654" sldId="384"/>
            <ac:spMk id="19" creationId="{902E9D21-DB8B-0C9D-D7F7-3A965F06F2B5}"/>
          </ac:spMkLst>
        </pc:spChg>
      </pc:sldChg>
      <pc:sldChg chg="modSp add del mod">
        <pc:chgData name="Manuel Cubero-Castan" userId="c483633e-862b-4a42-a73d-f07e3bc2876a" providerId="ADAL" clId="{C882524A-E39D-4A42-AF03-591BB1A8BD74}" dt="2023-12-01T17:15:31.868" v="210" actId="47"/>
        <pc:sldMkLst>
          <pc:docMk/>
          <pc:sldMk cId="1619445962" sldId="473"/>
        </pc:sldMkLst>
        <pc:spChg chg="mod">
          <ac:chgData name="Manuel Cubero-Castan" userId="c483633e-862b-4a42-a73d-f07e3bc2876a" providerId="ADAL" clId="{C882524A-E39D-4A42-AF03-591BB1A8BD74}" dt="2023-12-01T16:53:21.417" v="40" actId="27636"/>
          <ac:spMkLst>
            <pc:docMk/>
            <pc:sldMk cId="1619445962" sldId="473"/>
            <ac:spMk id="3" creationId="{00000000-0000-0000-0000-000000000000}"/>
          </ac:spMkLst>
        </pc:spChg>
      </pc:sldChg>
      <pc:sldChg chg="add del">
        <pc:chgData name="Manuel Cubero-Castan" userId="c483633e-862b-4a42-a73d-f07e3bc2876a" providerId="ADAL" clId="{C882524A-E39D-4A42-AF03-591BB1A8BD74}" dt="2023-12-01T17:15:31.868" v="210" actId="47"/>
        <pc:sldMkLst>
          <pc:docMk/>
          <pc:sldMk cId="4002902654" sldId="2379"/>
        </pc:sldMkLst>
      </pc:sldChg>
      <pc:sldChg chg="add del">
        <pc:chgData name="Manuel Cubero-Castan" userId="c483633e-862b-4a42-a73d-f07e3bc2876a" providerId="ADAL" clId="{C882524A-E39D-4A42-AF03-591BB1A8BD74}" dt="2023-12-01T17:15:31.868" v="210" actId="47"/>
        <pc:sldMkLst>
          <pc:docMk/>
          <pc:sldMk cId="341018652" sldId="2665"/>
        </pc:sldMkLst>
      </pc:sldChg>
      <pc:sldChg chg="modSp add mod">
        <pc:chgData name="Manuel Cubero-Castan" userId="c483633e-862b-4a42-a73d-f07e3bc2876a" providerId="ADAL" clId="{C882524A-E39D-4A42-AF03-591BB1A8BD74}" dt="2023-12-01T17:39:18.748" v="1252"/>
        <pc:sldMkLst>
          <pc:docMk/>
          <pc:sldMk cId="3806380385" sldId="2679"/>
        </pc:sldMkLst>
        <pc:spChg chg="mod">
          <ac:chgData name="Manuel Cubero-Castan" userId="c483633e-862b-4a42-a73d-f07e3bc2876a" providerId="ADAL" clId="{C882524A-E39D-4A42-AF03-591BB1A8BD74}" dt="2023-12-01T17:15:22.831" v="209" actId="27636"/>
          <ac:spMkLst>
            <pc:docMk/>
            <pc:sldMk cId="3806380385" sldId="2679"/>
            <ac:spMk id="4" creationId="{211B708E-5D66-AC4E-88EB-D50C6EC8E48C}"/>
          </ac:spMkLst>
        </pc:spChg>
        <pc:spChg chg="mod">
          <ac:chgData name="Manuel Cubero-Castan" userId="c483633e-862b-4a42-a73d-f07e3bc2876a" providerId="ADAL" clId="{C882524A-E39D-4A42-AF03-591BB1A8BD74}" dt="2023-12-01T17:39:18.748" v="1252"/>
          <ac:spMkLst>
            <pc:docMk/>
            <pc:sldMk cId="3806380385" sldId="2679"/>
            <ac:spMk id="5" creationId="{8748F7D4-36A8-704E-AF37-08718846C335}"/>
          </ac:spMkLst>
        </pc:spChg>
        <pc:spChg chg="mod">
          <ac:chgData name="Manuel Cubero-Castan" userId="c483633e-862b-4a42-a73d-f07e3bc2876a" providerId="ADAL" clId="{C882524A-E39D-4A42-AF03-591BB1A8BD74}" dt="2023-12-01T17:22:52.426" v="568" actId="20577"/>
          <ac:spMkLst>
            <pc:docMk/>
            <pc:sldMk cId="3806380385" sldId="2679"/>
            <ac:spMk id="12" creationId="{51A7BA4A-A922-4925-9A68-12DB1385DC6B}"/>
          </ac:spMkLst>
        </pc:spChg>
      </pc:sldChg>
      <pc:sldChg chg="addSp delSp modSp add del mod modAnim">
        <pc:chgData name="Manuel Cubero-Castan" userId="c483633e-862b-4a42-a73d-f07e3bc2876a" providerId="ADAL" clId="{C882524A-E39D-4A42-AF03-591BB1A8BD74}" dt="2023-12-01T17:13:31.193" v="206" actId="47"/>
        <pc:sldMkLst>
          <pc:docMk/>
          <pc:sldMk cId="3839517082" sldId="3913"/>
        </pc:sldMkLst>
        <pc:spChg chg="add del">
          <ac:chgData name="Manuel Cubero-Castan" userId="c483633e-862b-4a42-a73d-f07e3bc2876a" providerId="ADAL" clId="{C882524A-E39D-4A42-AF03-591BB1A8BD74}" dt="2023-12-01T16:57:06.250" v="45" actId="478"/>
          <ac:spMkLst>
            <pc:docMk/>
            <pc:sldMk cId="3839517082" sldId="3913"/>
            <ac:spMk id="10" creationId="{CD0C704D-BB58-8946-C903-6722EF65DAF7}"/>
          </ac:spMkLst>
        </pc:spChg>
        <pc:picChg chg="add del mod">
          <ac:chgData name="Manuel Cubero-Castan" userId="c483633e-862b-4a42-a73d-f07e3bc2876a" providerId="ADAL" clId="{C882524A-E39D-4A42-AF03-591BB1A8BD74}" dt="2023-12-01T16:57:40.481" v="49" actId="478"/>
          <ac:picMkLst>
            <pc:docMk/>
            <pc:sldMk cId="3839517082" sldId="3913"/>
            <ac:picMk id="12" creationId="{2265E9BA-6406-CE86-9396-5E4499B73BE0}"/>
          </ac:picMkLst>
        </pc:picChg>
        <pc:picChg chg="add del mod">
          <ac:chgData name="Manuel Cubero-Castan" userId="c483633e-862b-4a42-a73d-f07e3bc2876a" providerId="ADAL" clId="{C882524A-E39D-4A42-AF03-591BB1A8BD74}" dt="2023-12-01T16:58:01.595" v="53" actId="478"/>
          <ac:picMkLst>
            <pc:docMk/>
            <pc:sldMk cId="3839517082" sldId="3913"/>
            <ac:picMk id="14" creationId="{D69CA9F5-ED6F-654A-6B17-BAE8DB672112}"/>
          </ac:picMkLst>
        </pc:picChg>
        <pc:picChg chg="add mod">
          <ac:chgData name="Manuel Cubero-Castan" userId="c483633e-862b-4a42-a73d-f07e3bc2876a" providerId="ADAL" clId="{C882524A-E39D-4A42-AF03-591BB1A8BD74}" dt="2023-12-01T16:59:36.905" v="64" actId="1076"/>
          <ac:picMkLst>
            <pc:docMk/>
            <pc:sldMk cId="3839517082" sldId="3913"/>
            <ac:picMk id="16" creationId="{B873CEF0-94F2-5AA4-C4BF-F491F52A61A5}"/>
          </ac:picMkLst>
        </pc:picChg>
      </pc:sldChg>
      <pc:sldChg chg="add del">
        <pc:chgData name="Manuel Cubero-Castan" userId="c483633e-862b-4a42-a73d-f07e3bc2876a" providerId="ADAL" clId="{C882524A-E39D-4A42-AF03-591BB1A8BD74}" dt="2023-12-01T17:39:27.189" v="1254" actId="47"/>
        <pc:sldMkLst>
          <pc:docMk/>
          <pc:sldMk cId="902052365" sldId="4511"/>
        </pc:sldMkLst>
      </pc:sldChg>
      <pc:sldChg chg="addSp modSp add mod modAnim">
        <pc:chgData name="Manuel Cubero-Castan" userId="c483633e-862b-4a42-a73d-f07e3bc2876a" providerId="ADAL" clId="{C882524A-E39D-4A42-AF03-591BB1A8BD74}" dt="2023-12-01T17:42:41.329" v="1288"/>
        <pc:sldMkLst>
          <pc:docMk/>
          <pc:sldMk cId="3317462436" sldId="4512"/>
        </pc:sldMkLst>
        <pc:spChg chg="mod">
          <ac:chgData name="Manuel Cubero-Castan" userId="c483633e-862b-4a42-a73d-f07e3bc2876a" providerId="ADAL" clId="{C882524A-E39D-4A42-AF03-591BB1A8BD74}" dt="2023-12-01T17:41:10.510" v="1283" actId="20577"/>
          <ac:spMkLst>
            <pc:docMk/>
            <pc:sldMk cId="3317462436" sldId="4512"/>
            <ac:spMk id="3" creationId="{FC23A6D9-670A-4516-B34C-EB2C10B68AAE}"/>
          </ac:spMkLst>
        </pc:spChg>
        <pc:spChg chg="mod">
          <ac:chgData name="Manuel Cubero-Castan" userId="c483633e-862b-4a42-a73d-f07e3bc2876a" providerId="ADAL" clId="{C882524A-E39D-4A42-AF03-591BB1A8BD74}" dt="2023-12-01T17:39:00.915" v="1248" actId="20577"/>
          <ac:spMkLst>
            <pc:docMk/>
            <pc:sldMk cId="3317462436" sldId="4512"/>
            <ac:spMk id="7" creationId="{43ACCD45-F554-3761-D76D-607C0696D833}"/>
          </ac:spMkLst>
        </pc:spChg>
        <pc:spChg chg="add mod">
          <ac:chgData name="Manuel Cubero-Castan" userId="c483633e-862b-4a42-a73d-f07e3bc2876a" providerId="ADAL" clId="{C882524A-E39D-4A42-AF03-591BB1A8BD74}" dt="2023-12-01T17:42:30.674" v="1287" actId="13822"/>
          <ac:spMkLst>
            <pc:docMk/>
            <pc:sldMk cId="3317462436" sldId="4512"/>
            <ac:spMk id="9" creationId="{332676FF-262D-5B4F-664D-1FCC7751BA19}"/>
          </ac:spMkLst>
        </pc:spChg>
      </pc:sldChg>
      <pc:sldChg chg="addSp delSp modSp add mod delAnim modAnim">
        <pc:chgData name="Manuel Cubero-Castan" userId="c483633e-862b-4a42-a73d-f07e3bc2876a" providerId="ADAL" clId="{C882524A-E39D-4A42-AF03-591BB1A8BD74}" dt="2023-12-01T17:40:23.545" v="1273" actId="20577"/>
        <pc:sldMkLst>
          <pc:docMk/>
          <pc:sldMk cId="2835111385" sldId="4513"/>
        </pc:sldMkLst>
        <pc:spChg chg="mod">
          <ac:chgData name="Manuel Cubero-Castan" userId="c483633e-862b-4a42-a73d-f07e3bc2876a" providerId="ADAL" clId="{C882524A-E39D-4A42-AF03-591BB1A8BD74}" dt="2023-12-01T17:16:37.085" v="218" actId="20577"/>
          <ac:spMkLst>
            <pc:docMk/>
            <pc:sldMk cId="2835111385" sldId="4513"/>
            <ac:spMk id="2" creationId="{1820AA01-5C19-A72D-C025-64D11EF3770E}"/>
          </ac:spMkLst>
        </pc:spChg>
        <pc:spChg chg="mod">
          <ac:chgData name="Manuel Cubero-Castan" userId="c483633e-862b-4a42-a73d-f07e3bc2876a" providerId="ADAL" clId="{C882524A-E39D-4A42-AF03-591BB1A8BD74}" dt="2023-12-01T17:39:36.349" v="1255"/>
          <ac:spMkLst>
            <pc:docMk/>
            <pc:sldMk cId="2835111385" sldId="4513"/>
            <ac:spMk id="3" creationId="{A452EA06-A158-10F1-E14A-95D9F753E773}"/>
          </ac:spMkLst>
        </pc:spChg>
        <pc:spChg chg="mod">
          <ac:chgData name="Manuel Cubero-Castan" userId="c483633e-862b-4a42-a73d-f07e3bc2876a" providerId="ADAL" clId="{C882524A-E39D-4A42-AF03-591BB1A8BD74}" dt="2023-12-01T17:40:23.545" v="1273" actId="20577"/>
          <ac:spMkLst>
            <pc:docMk/>
            <pc:sldMk cId="2835111385" sldId="4513"/>
            <ac:spMk id="4" creationId="{6C3DDD85-3592-48B3-E06B-81838F67610A}"/>
          </ac:spMkLst>
        </pc:spChg>
        <pc:spChg chg="mod">
          <ac:chgData name="Manuel Cubero-Castan" userId="c483633e-862b-4a42-a73d-f07e3bc2876a" providerId="ADAL" clId="{C882524A-E39D-4A42-AF03-591BB1A8BD74}" dt="2023-12-01T17:37:41.774" v="1237" actId="1038"/>
          <ac:spMkLst>
            <pc:docMk/>
            <pc:sldMk cId="2835111385" sldId="4513"/>
            <ac:spMk id="7" creationId="{14D542EF-66AB-B9AA-FC99-CE8E5945A12F}"/>
          </ac:spMkLst>
        </pc:spChg>
        <pc:grpChg chg="add mod">
          <ac:chgData name="Manuel Cubero-Castan" userId="c483633e-862b-4a42-a73d-f07e3bc2876a" providerId="ADAL" clId="{C882524A-E39D-4A42-AF03-591BB1A8BD74}" dt="2023-12-01T17:37:41.774" v="1237" actId="1038"/>
          <ac:grpSpMkLst>
            <pc:docMk/>
            <pc:sldMk cId="2835111385" sldId="4513"/>
            <ac:grpSpMk id="13" creationId="{3FC9CF98-C28A-C74C-5695-E3BBA740D926}"/>
          </ac:grpSpMkLst>
        </pc:grpChg>
        <pc:picChg chg="mod">
          <ac:chgData name="Manuel Cubero-Castan" userId="c483633e-862b-4a42-a73d-f07e3bc2876a" providerId="ADAL" clId="{C882524A-E39D-4A42-AF03-591BB1A8BD74}" dt="2023-12-01T17:37:24.242" v="1156" actId="164"/>
          <ac:picMkLst>
            <pc:docMk/>
            <pc:sldMk cId="2835111385" sldId="4513"/>
            <ac:picMk id="6" creationId="{C50AA962-6160-9A4F-868B-BE61A9B60FDF}"/>
          </ac:picMkLst>
        </pc:picChg>
        <pc:picChg chg="add del mod">
          <ac:chgData name="Manuel Cubero-Castan" userId="c483633e-862b-4a42-a73d-f07e3bc2876a" providerId="ADAL" clId="{C882524A-E39D-4A42-AF03-591BB1A8BD74}" dt="2023-12-01T17:05:01.552" v="81" actId="478"/>
          <ac:picMkLst>
            <pc:docMk/>
            <pc:sldMk cId="2835111385" sldId="4513"/>
            <ac:picMk id="8" creationId="{ED6B47E7-AB29-E9F5-11E3-452983320B2D}"/>
          </ac:picMkLst>
        </pc:picChg>
        <pc:picChg chg="add mod">
          <ac:chgData name="Manuel Cubero-Castan" userId="c483633e-862b-4a42-a73d-f07e3bc2876a" providerId="ADAL" clId="{C882524A-E39D-4A42-AF03-591BB1A8BD74}" dt="2023-12-01T17:06:22.348" v="89" actId="1076"/>
          <ac:picMkLst>
            <pc:docMk/>
            <pc:sldMk cId="2835111385" sldId="4513"/>
            <ac:picMk id="10" creationId="{B1B4488D-05EF-E62D-471F-67746157012D}"/>
          </ac:picMkLst>
        </pc:picChg>
        <pc:picChg chg="add mod">
          <ac:chgData name="Manuel Cubero-Castan" userId="c483633e-862b-4a42-a73d-f07e3bc2876a" providerId="ADAL" clId="{C882524A-E39D-4A42-AF03-591BB1A8BD74}" dt="2023-12-01T17:06:29.230" v="92" actId="1076"/>
          <ac:picMkLst>
            <pc:docMk/>
            <pc:sldMk cId="2835111385" sldId="4513"/>
            <ac:picMk id="12" creationId="{59BFF469-263E-9110-89AD-551EAB3A52B3}"/>
          </ac:picMkLst>
        </pc:picChg>
        <pc:picChg chg="mod">
          <ac:chgData name="Manuel Cubero-Castan" userId="c483633e-862b-4a42-a73d-f07e3bc2876a" providerId="ADAL" clId="{C882524A-E39D-4A42-AF03-591BB1A8BD74}" dt="2023-12-01T17:37:24.242" v="1156" actId="164"/>
          <ac:picMkLst>
            <pc:docMk/>
            <pc:sldMk cId="2835111385" sldId="4513"/>
            <ac:picMk id="27" creationId="{888CAA95-4559-4F65-9408-A2053C659024}"/>
          </ac:picMkLst>
        </pc:picChg>
        <pc:picChg chg="del">
          <ac:chgData name="Manuel Cubero-Castan" userId="c483633e-862b-4a42-a73d-f07e3bc2876a" providerId="ADAL" clId="{C882524A-E39D-4A42-AF03-591BB1A8BD74}" dt="2023-12-01T17:06:15.447" v="88" actId="478"/>
          <ac:picMkLst>
            <pc:docMk/>
            <pc:sldMk cId="2835111385" sldId="4513"/>
            <ac:picMk id="28" creationId="{6EDC117B-5C2E-C746-4DBA-F0E3BD9C7D88}"/>
          </ac:picMkLst>
        </pc:picChg>
      </pc:sldChg>
      <pc:sldChg chg="modSp add mod">
        <pc:chgData name="Manuel Cubero-Castan" userId="c483633e-862b-4a42-a73d-f07e3bc2876a" providerId="ADAL" clId="{C882524A-E39D-4A42-AF03-591BB1A8BD74}" dt="2023-12-01T17:40:58.999" v="1279" actId="20577"/>
        <pc:sldMkLst>
          <pc:docMk/>
          <pc:sldMk cId="2916795767" sldId="4514"/>
        </pc:sldMkLst>
        <pc:spChg chg="mod">
          <ac:chgData name="Manuel Cubero-Castan" userId="c483633e-862b-4a42-a73d-f07e3bc2876a" providerId="ADAL" clId="{C882524A-E39D-4A42-AF03-591BB1A8BD74}" dt="2023-12-01T17:40:58.999" v="1279" actId="20577"/>
          <ac:spMkLst>
            <pc:docMk/>
            <pc:sldMk cId="2916795767" sldId="4514"/>
            <ac:spMk id="9" creationId="{57F4FB2D-2646-4009-B687-2588B9731E15}"/>
          </ac:spMkLst>
        </pc:spChg>
        <pc:spChg chg="mod">
          <ac:chgData name="Manuel Cubero-Castan" userId="c483633e-862b-4a42-a73d-f07e3bc2876a" providerId="ADAL" clId="{C882524A-E39D-4A42-AF03-591BB1A8BD74}" dt="2023-12-01T17:39:11.983" v="1250"/>
          <ac:spMkLst>
            <pc:docMk/>
            <pc:sldMk cId="2916795767" sldId="4514"/>
            <ac:spMk id="19" creationId="{A8877E9D-EEBE-ED43-91A3-3D2E30DCE2AD}"/>
          </ac:spMkLst>
        </pc:spChg>
      </pc:sldChg>
      <pc:sldChg chg="modSp add mod">
        <pc:chgData name="Manuel Cubero-Castan" userId="c483633e-862b-4a42-a73d-f07e3bc2876a" providerId="ADAL" clId="{C882524A-E39D-4A42-AF03-591BB1A8BD74}" dt="2023-12-01T17:39:15.113" v="1251"/>
        <pc:sldMkLst>
          <pc:docMk/>
          <pc:sldMk cId="1163522183" sldId="4515"/>
        </pc:sldMkLst>
        <pc:spChg chg="mod">
          <ac:chgData name="Manuel Cubero-Castan" userId="c483633e-862b-4a42-a73d-f07e3bc2876a" providerId="ADAL" clId="{C882524A-E39D-4A42-AF03-591BB1A8BD74}" dt="2023-12-01T17:39:15.113" v="1251"/>
          <ac:spMkLst>
            <pc:docMk/>
            <pc:sldMk cId="1163522183" sldId="4515"/>
            <ac:spMk id="4" creationId="{00000000-0000-0000-0000-000000000000}"/>
          </ac:spMkLst>
        </pc:spChg>
        <pc:spChg chg="mod">
          <ac:chgData name="Manuel Cubero-Castan" userId="c483633e-862b-4a42-a73d-f07e3bc2876a" providerId="ADAL" clId="{C882524A-E39D-4A42-AF03-591BB1A8BD74}" dt="2023-12-01T17:23:12.377" v="589" actId="20577"/>
          <ac:spMkLst>
            <pc:docMk/>
            <pc:sldMk cId="1163522183" sldId="4515"/>
            <ac:spMk id="5" creationId="{00000000-0000-0000-0000-000000000000}"/>
          </ac:spMkLst>
        </pc:spChg>
      </pc:sldChg>
      <pc:sldChg chg="new del">
        <pc:chgData name="Manuel Cubero-Castan" userId="c483633e-862b-4a42-a73d-f07e3bc2876a" providerId="ADAL" clId="{C882524A-E39D-4A42-AF03-591BB1A8BD74}" dt="2023-12-01T17:37:10.401" v="1154" actId="47"/>
        <pc:sldMkLst>
          <pc:docMk/>
          <pc:sldMk cId="464223419" sldId="4516"/>
        </pc:sldMkLst>
      </pc:sldChg>
      <pc:sldChg chg="addSp delSp modSp add mod">
        <pc:chgData name="Manuel Cubero-Castan" userId="c483633e-862b-4a42-a73d-f07e3bc2876a" providerId="ADAL" clId="{C882524A-E39D-4A42-AF03-591BB1A8BD74}" dt="2023-12-01T17:40:15.573" v="1269" actId="167"/>
        <pc:sldMkLst>
          <pc:docMk/>
          <pc:sldMk cId="2839551380" sldId="4517"/>
        </pc:sldMkLst>
        <pc:spChg chg="mod">
          <ac:chgData name="Manuel Cubero-Castan" userId="c483633e-862b-4a42-a73d-f07e3bc2876a" providerId="ADAL" clId="{C882524A-E39D-4A42-AF03-591BB1A8BD74}" dt="2023-12-01T17:35:43.309" v="1147" actId="20577"/>
          <ac:spMkLst>
            <pc:docMk/>
            <pc:sldMk cId="2839551380" sldId="4517"/>
            <ac:spMk id="4" creationId="{211B708E-5D66-AC4E-88EB-D50C6EC8E48C}"/>
          </ac:spMkLst>
        </pc:spChg>
        <pc:spChg chg="mod">
          <ac:chgData name="Manuel Cubero-Castan" userId="c483633e-862b-4a42-a73d-f07e3bc2876a" providerId="ADAL" clId="{C882524A-E39D-4A42-AF03-591BB1A8BD74}" dt="2023-12-01T17:39:24.147" v="1253"/>
          <ac:spMkLst>
            <pc:docMk/>
            <pc:sldMk cId="2839551380" sldId="4517"/>
            <ac:spMk id="5" creationId="{8748F7D4-36A8-704E-AF37-08718846C335}"/>
          </ac:spMkLst>
        </pc:spChg>
        <pc:spChg chg="add del mod">
          <ac:chgData name="Manuel Cubero-Castan" userId="c483633e-862b-4a42-a73d-f07e3bc2876a" providerId="ADAL" clId="{C882524A-E39D-4A42-AF03-591BB1A8BD74}" dt="2023-12-01T17:31:54.234" v="982" actId="478"/>
          <ac:spMkLst>
            <pc:docMk/>
            <pc:sldMk cId="2839551380" sldId="4517"/>
            <ac:spMk id="8" creationId="{747E9F3E-11CC-28E6-AB03-5DD70CCA5BC1}"/>
          </ac:spMkLst>
        </pc:spChg>
        <pc:spChg chg="add mod">
          <ac:chgData name="Manuel Cubero-Castan" userId="c483633e-862b-4a42-a73d-f07e3bc2876a" providerId="ADAL" clId="{C882524A-E39D-4A42-AF03-591BB1A8BD74}" dt="2023-12-01T17:35:05.290" v="1140" actId="1076"/>
          <ac:spMkLst>
            <pc:docMk/>
            <pc:sldMk cId="2839551380" sldId="4517"/>
            <ac:spMk id="9" creationId="{F75AE86E-7C9F-F8BD-05EB-899C27B3A73A}"/>
          </ac:spMkLst>
        </pc:spChg>
        <pc:spChg chg="mod">
          <ac:chgData name="Manuel Cubero-Castan" userId="c483633e-862b-4a42-a73d-f07e3bc2876a" providerId="ADAL" clId="{C882524A-E39D-4A42-AF03-591BB1A8BD74}" dt="2023-12-01T17:34:54.132" v="1137" actId="5793"/>
          <ac:spMkLst>
            <pc:docMk/>
            <pc:sldMk cId="2839551380" sldId="4517"/>
            <ac:spMk id="12" creationId="{51A7BA4A-A922-4925-9A68-12DB1385DC6B}"/>
          </ac:spMkLst>
        </pc:spChg>
        <pc:picChg chg="del">
          <ac:chgData name="Manuel Cubero-Castan" userId="c483633e-862b-4a42-a73d-f07e3bc2876a" providerId="ADAL" clId="{C882524A-E39D-4A42-AF03-591BB1A8BD74}" dt="2023-12-01T17:25:10.395" v="603" actId="478"/>
          <ac:picMkLst>
            <pc:docMk/>
            <pc:sldMk cId="2839551380" sldId="4517"/>
            <ac:picMk id="3" creationId="{81E7C549-0DB0-4247-A224-604984D9A50E}"/>
          </ac:picMkLst>
        </pc:picChg>
        <pc:picChg chg="add mod">
          <ac:chgData name="Manuel Cubero-Castan" userId="c483633e-862b-4a42-a73d-f07e3bc2876a" providerId="ADAL" clId="{C882524A-E39D-4A42-AF03-591BB1A8BD74}" dt="2023-12-01T17:36:38.105" v="1153" actId="1076"/>
          <ac:picMkLst>
            <pc:docMk/>
            <pc:sldMk cId="2839551380" sldId="4517"/>
            <ac:picMk id="11" creationId="{67F9212F-34F4-2E81-DC2A-A3B5F6299091}"/>
          </ac:picMkLst>
        </pc:picChg>
        <pc:picChg chg="add mod">
          <ac:chgData name="Manuel Cubero-Castan" userId="c483633e-862b-4a42-a73d-f07e3bc2876a" providerId="ADAL" clId="{C882524A-E39D-4A42-AF03-591BB1A8BD74}" dt="2023-12-01T17:40:15.573" v="1269" actId="167"/>
          <ac:picMkLst>
            <pc:docMk/>
            <pc:sldMk cId="2839551380" sldId="4517"/>
            <ac:picMk id="1026" creationId="{844128B2-99F5-5C08-3C41-9690FA12A04D}"/>
          </ac:picMkLst>
        </pc:picChg>
      </pc:sldChg>
      <pc:sldMasterChg chg="delSldLayout">
        <pc:chgData name="Manuel Cubero-Castan" userId="c483633e-862b-4a42-a73d-f07e3bc2876a" providerId="ADAL" clId="{C882524A-E39D-4A42-AF03-591BB1A8BD74}" dt="2023-12-01T17:39:27.189" v="1254" actId="47"/>
        <pc:sldMasterMkLst>
          <pc:docMk/>
          <pc:sldMasterMk cId="3569486836" sldId="2147483660"/>
        </pc:sldMasterMkLst>
        <pc:sldLayoutChg chg="del">
          <pc:chgData name="Manuel Cubero-Castan" userId="c483633e-862b-4a42-a73d-f07e3bc2876a" providerId="ADAL" clId="{C882524A-E39D-4A42-AF03-591BB1A8BD74}" dt="2023-12-01T17:39:27.189" v="1254" actId="47"/>
          <pc:sldLayoutMkLst>
            <pc:docMk/>
            <pc:sldMasterMk cId="3569486836" sldId="2147483660"/>
            <pc:sldLayoutMk cId="1595069761" sldId="214748368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fr-CH">
                <a:latin typeface="Arial" panose="020B0604020202020204" pitchFamily="34" charset="0"/>
              </a:rPr>
              <a:t>NAME EVENT / NAME PRESENTATION</a:t>
            </a:r>
            <a:endParaRPr lang="fr-CH" dirty="0">
              <a:latin typeface="Arial" panose="020B0604020202020204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A82990-454E-6D40-B787-602064059848}" type="datetime1">
              <a:rPr lang="fr-CH" smtClean="0">
                <a:latin typeface="Arial" panose="020B0604020202020204" pitchFamily="34" charset="0"/>
              </a:rPr>
              <a:t>01.12.2023</a:t>
            </a:fld>
            <a:endParaRPr lang="fr-CH" dirty="0">
              <a:latin typeface="Arial" panose="020B0604020202020204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CH">
                <a:latin typeface="Arial" panose="020B0604020202020204" pitchFamily="34" charset="0"/>
              </a:rPr>
              <a:t>Speaker</a:t>
            </a:r>
            <a:endParaRPr lang="fr-CH" dirty="0">
              <a:latin typeface="Arial" panose="020B060402020202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BF4AF0-8439-436D-BEF0-52070F19E1B6}" type="slidenum">
              <a:rPr lang="fr-CH" smtClean="0">
                <a:latin typeface="Arial" panose="020B0604020202020204" pitchFamily="34" charset="0"/>
              </a:rPr>
              <a:t>‹N°›</a:t>
            </a:fld>
            <a:endParaRPr lang="fr-CH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90568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r>
              <a:rPr lang="fr-FR"/>
              <a:t>NAME EVENT / NAME PRESENTATION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8CE33FD-0FF9-9842-AB59-AE8A9DA86E6D}" type="datetime1">
              <a:rPr lang="fr-CH" smtClean="0"/>
              <a:t>01.12.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10518" y="619273"/>
            <a:ext cx="6436964" cy="362079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210518" y="4400549"/>
            <a:ext cx="6436964" cy="420100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CF50783-AAED-1941-8BCC-9F6140F0A6B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674272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11138" y="619125"/>
            <a:ext cx="6435725" cy="3621088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F50783-AAED-1941-8BCC-9F6140F0A6B1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B08DC05-305F-594F-9F18-9CF1E4DB5A2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8D0A5B1-366E-814F-985B-A15A07F752FF}" type="datetime1">
              <a:rPr lang="fr-CH" smtClean="0"/>
              <a:t>01.12.202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F2F41A5-B12E-1843-83F7-B86B38C0CE9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7" name="Espace réservé de l'en-tête 6">
            <a:extLst>
              <a:ext uri="{FF2B5EF4-FFF2-40B4-BE49-F238E27FC236}">
                <a16:creationId xmlns:a16="http://schemas.microsoft.com/office/drawing/2014/main" id="{4D206A73-DDB0-2740-9475-00E48E475A1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fr-FR"/>
              <a:t>NAME EVENT / NAME PRE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4361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80975" y="858838"/>
            <a:ext cx="6496050" cy="36544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7152C-41B0-45E6-BD78-B08193A70CA1}" type="slidenum">
              <a:rPr kumimoji="0" lang="fr-CH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CH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439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11138" y="592138"/>
            <a:ext cx="6435725" cy="36210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10518" y="4587875"/>
            <a:ext cx="6436964" cy="4013683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F50783-AAED-1941-8BCC-9F6140F0A6B1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F1CB072-4A5C-F443-84CC-466F6058502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51E7037-51E7-B543-86CB-F0006A18E238}" type="datetime1">
              <a:rPr lang="fr-CH" smtClean="0"/>
              <a:t>01.12.202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3D8310D-B91B-A743-896F-F9845CEF21B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7" name="Espace réservé de l'en-tête 6">
            <a:extLst>
              <a:ext uri="{FF2B5EF4-FFF2-40B4-BE49-F238E27FC236}">
                <a16:creationId xmlns:a16="http://schemas.microsoft.com/office/drawing/2014/main" id="{1F563D77-70D3-894D-9BAC-6BBC60FA11C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fr-FR"/>
              <a:t>NAME EVENT / NAME PRE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5474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Facul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4CF6F629-51E7-9F40-939D-F50AE3925A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31913" y="0"/>
            <a:ext cx="7812087" cy="4948238"/>
          </a:xfrm>
        </p:spPr>
        <p:txBody>
          <a:bodyPr/>
          <a:lstStyle/>
          <a:p>
            <a:r>
              <a:rPr lang="fr-FR" noProof="0"/>
              <a:t>Cliquez sur l'icône pour ajouter une imag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5563" y="786535"/>
            <a:ext cx="2738437" cy="2338387"/>
          </a:xfrm>
          <a:solidFill>
            <a:schemeClr val="accent1"/>
          </a:solidFill>
        </p:spPr>
        <p:txBody>
          <a:bodyPr lIns="216000" anchor="ctr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6763" y="3124922"/>
            <a:ext cx="1828800" cy="1568450"/>
          </a:xfrm>
          <a:solidFill>
            <a:schemeClr val="tx1"/>
          </a:solidFill>
        </p:spPr>
        <p:txBody>
          <a:bodyPr lIns="90000" anchor="ctr" anchorCtr="0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noProof="0"/>
              <a:t>Modifiez le style des sous-titres du masque</a:t>
            </a:r>
            <a:endParaRPr lang="en-GB" noProof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535A482-EC85-1C41-A1E4-7882A0E39F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647" y="80283"/>
            <a:ext cx="1175301" cy="508655"/>
          </a:xfrm>
          <a:prstGeom prst="rect">
            <a:avLst/>
          </a:prstGeom>
        </p:spPr>
      </p:pic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01960462-6F28-0740-916D-499D3BEDB2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0" y="4683125"/>
            <a:ext cx="1828800" cy="460375"/>
          </a:xfrm>
          <a:solidFill>
            <a:schemeClr val="bg1"/>
          </a:solidFill>
        </p:spPr>
        <p:txBody>
          <a:bodyPr lIns="90000" anchor="ctr">
            <a:noAutofit/>
          </a:bodyPr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fr-FR" noProof="0"/>
              <a:t>Modifier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E187583-F16A-6F41-8B68-000F9C9C20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550" y="4440264"/>
            <a:ext cx="698500" cy="507975"/>
          </a:xfrm>
        </p:spPr>
        <p:txBody>
          <a:bodyPr lIns="0" tIns="0" rIns="0" bIns="0" anchor="b" anchorCtr="0">
            <a:noAutofit/>
          </a:bodyPr>
          <a:lstStyle>
            <a:lvl1pPr marL="114300" indent="-107950">
              <a:buFontTx/>
              <a:buBlip>
                <a:blip r:embed="rId3"/>
              </a:buBlip>
              <a:tabLst/>
              <a:defRPr sz="7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7788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26" userDrawn="1">
          <p15:clr>
            <a:srgbClr val="FBAE40"/>
          </p15:clr>
        </p15:guide>
        <p15:guide id="5" orient="horz" pos="123" userDrawn="1">
          <p15:clr>
            <a:srgbClr val="FBAE40"/>
          </p15:clr>
        </p15:guide>
        <p15:guide id="6" orient="horz" pos="3117" userDrawn="1">
          <p15:clr>
            <a:srgbClr val="FBAE40"/>
          </p15:clr>
        </p15:guide>
        <p15:guide id="7" pos="8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ED9B2D-C513-AF40-B94F-355C174B8F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1563688"/>
            <a:ext cx="3144838" cy="3579812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49395" y="1563688"/>
            <a:ext cx="4581525" cy="338677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C026A30B-6F8E-1445-88F0-A5FB77E12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826567D5-4A83-9E48-B441-CCB2A72BA6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C830A539-93F1-2541-B9F0-330893BD51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82F21D18-8706-7E4D-8FBE-C1E2584541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454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04875" y="1563688"/>
            <a:ext cx="3671466" cy="3263504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9772" y="1563688"/>
            <a:ext cx="3671466" cy="3263504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6897D737-724C-984A-82E1-2A2DBD5F6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E34C2B73-67B7-BB4C-AE0F-7D16D8DDD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C9FF6AA9-AC16-D748-B815-56221BFF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D59D891-3F23-D04C-AB43-6FA4220AF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670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9BFFD8D9-6AAA-B44F-8BD5-98D7A6546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084C64CE-C88F-2044-AD84-19F588F18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948AF20-C2DF-3542-BB6A-8354A9817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1083942-1443-BC45-9F95-32C82A8DC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740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625DAC6D-23F0-6941-BE81-E7A79CA3AF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7726363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5563" y="2571750"/>
            <a:ext cx="2738437" cy="2111375"/>
          </a:xfrm>
          <a:solidFill>
            <a:schemeClr val="accent2"/>
          </a:solidFill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0E5EA1C-63CE-2C4F-B9F4-39FDBC14B9A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E7A5892-F23D-BD48-84D1-FD279BA168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C516D46-C7BB-2141-A4EE-18D1756414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094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625DAC6D-23F0-6941-BE81-E7A79CA3AF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7726363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1E6F4EB-CC02-6E4D-9146-CE4A7A789A9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ED4AA2C-29B3-CA42-B7C3-C932911A75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FE7A1E3-AAEC-7641-B6C5-8D9FC0B6A2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172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Image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625DAC6D-23F0-6941-BE81-E7A79CA3AF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3114674"/>
            <a:ext cx="8239125" cy="2028825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>
          <a:xfrm>
            <a:off x="904875" y="1563688"/>
            <a:ext cx="7646988" cy="1436687"/>
          </a:xfrm>
        </p:spPr>
        <p:txBody>
          <a:bodyPr/>
          <a:lstStyle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37CF3032-2465-874C-B786-95E1B594A5A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AF73E2A-22D7-894A-9267-185CB4E4B13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39D9777C-EC90-1141-9E30-4B4F669C2B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0E011164-727C-4C46-B34E-7729CB350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3115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D8101AB-8ACE-BB4C-9D61-B4AABFE11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F9CFC1D-0B2A-0A4E-9C0D-682EECA55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6622065-A833-2340-B0FD-ACB065A3B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484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30C78BE-DAD0-D748-8B93-AD898D00C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131A8490-33AC-9443-A9FC-9A5E93229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PFL - VPT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B875139C-6471-774D-89EF-2B93FAD2C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gnès Le Tiec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942AF23-4BDC-8C4A-9212-AF88439C6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8052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9BFFD8D9-6AAA-B44F-8BD5-98D7A6546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084C64CE-C88F-2044-AD84-19F588F18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PFL - VPT</a:t>
            </a:r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948AF20-C2DF-3542-BB6A-8354A9817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gnès Le Tiec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1083942-1443-BC45-9F95-32C82A8DC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5656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04875" y="1563688"/>
            <a:ext cx="3671466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9772" y="1563688"/>
            <a:ext cx="3671466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6897D737-724C-984A-82E1-2A2DBD5F6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E34C2B73-67B7-BB4C-AE0F-7D16D8DDD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Climate and Sustainability Strategy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C9FF6AA9-AC16-D748-B815-56221BFF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PT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D59D891-3F23-D04C-AB43-6FA4220AF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8407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EPF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4CF6F629-51E7-9F40-939D-F50AE3925A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31913" y="0"/>
            <a:ext cx="7812087" cy="4948238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5563" y="786535"/>
            <a:ext cx="2738437" cy="2338387"/>
          </a:xfrm>
          <a:solidFill>
            <a:schemeClr val="accent1"/>
          </a:solidFill>
        </p:spPr>
        <p:txBody>
          <a:bodyPr lIns="216000" anchor="ctr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6763" y="3124922"/>
            <a:ext cx="1828800" cy="1568450"/>
          </a:xfrm>
          <a:solidFill>
            <a:schemeClr val="tx1"/>
          </a:solidFill>
        </p:spPr>
        <p:txBody>
          <a:bodyPr lIns="90000" anchor="ctr" anchorCtr="0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535A482-EC85-1C41-A1E4-7882A0E39F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647" y="80283"/>
            <a:ext cx="1175301" cy="508655"/>
          </a:xfrm>
          <a:prstGeom prst="rect">
            <a:avLst/>
          </a:prstGeom>
        </p:spPr>
      </p:pic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01960462-6F28-0740-916D-499D3BEDB2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0" y="4683125"/>
            <a:ext cx="1828800" cy="460375"/>
          </a:xfrm>
          <a:solidFill>
            <a:schemeClr val="bg1"/>
          </a:solidFill>
        </p:spPr>
        <p:txBody>
          <a:bodyPr lIns="90000" anchor="ctr">
            <a:noAutofit/>
          </a:bodyPr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5041849-939B-E04F-AABC-A900B2B4E3D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0025" y="4579268"/>
            <a:ext cx="561543" cy="3673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2865CD0-FD83-AF44-9C32-763AAD652C05}"/>
              </a:ext>
            </a:extLst>
          </p:cNvPr>
          <p:cNvSpPr/>
          <p:nvPr userDrawn="1"/>
        </p:nvSpPr>
        <p:spPr>
          <a:xfrm rot="16200000">
            <a:off x="89679" y="4591427"/>
            <a:ext cx="45719" cy="597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56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26">
          <p15:clr>
            <a:srgbClr val="FBAE40"/>
          </p15:clr>
        </p15:guide>
        <p15:guide id="5" orient="horz" pos="123">
          <p15:clr>
            <a:srgbClr val="FBAE40"/>
          </p15:clr>
        </p15:guide>
        <p15:guide id="6" orient="horz" pos="3117">
          <p15:clr>
            <a:srgbClr val="FBAE40"/>
          </p15:clr>
        </p15:guide>
        <p15:guide id="7" pos="8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ED9B2D-C513-AF40-B94F-355C174B8F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1563688"/>
            <a:ext cx="3144838" cy="3579812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49395" y="1563688"/>
            <a:ext cx="4581525" cy="338677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C026A30B-6F8E-1445-88F0-A5FB77E12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826567D5-4A83-9E48-B441-CCB2A72BA6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IR / Stratégie numérique responsable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C830A539-93F1-2541-B9F0-330893BD51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Manuel Cubero-Castan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82F21D18-8706-7E4D-8FBE-C1E2584541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4216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ectio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F6C81-AE59-DE44-BF60-E773080CD91C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0" y="777875"/>
            <a:ext cx="4058920" cy="179387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0" y="2571750"/>
            <a:ext cx="4058920" cy="215650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C58F136D-3292-C745-91DE-A21191C16F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3667125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2" name="Espace réservé de la date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8886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ecti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F6C81-AE59-DE44-BF60-E773080CD91C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0" y="777875"/>
            <a:ext cx="4058920" cy="179387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0" y="2571750"/>
            <a:ext cx="4058920" cy="215650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C58F136D-3292-C745-91DE-A21191C16F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3667125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2" name="Espace réservé de la date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817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ectio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F6C81-AE59-DE44-BF60-E773080CD91C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0" y="777875"/>
            <a:ext cx="4058920" cy="179387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0" y="2571750"/>
            <a:ext cx="4058920" cy="215650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C58F136D-3292-C745-91DE-A21191C16F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3667125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222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ectio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F6C81-AE59-DE44-BF60-E773080CD91C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0" y="777875"/>
            <a:ext cx="4058920" cy="179387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0" y="2571750"/>
            <a:ext cx="4058920" cy="215650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C58F136D-3292-C745-91DE-A21191C16F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3667125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595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897844"/>
            <a:ext cx="7726363" cy="405261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30C78BE-DAD0-D748-8B93-AD898D00C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179554"/>
            <a:ext cx="7726363" cy="55473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131A8490-33AC-9443-A9FC-9A5E93229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B875139C-6471-774D-89EF-2B93FAD2C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942AF23-4BDC-8C4A-9212-AF88439C6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962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563688"/>
            <a:ext cx="4581525" cy="338677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ED9B2D-C513-AF40-B94F-355C174B8F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86400" y="0"/>
            <a:ext cx="3144838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55F20A3C-6DA6-684F-8F84-A7C8F1339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B633A2CC-2D27-AE47-AE09-87A5F61228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CABC000E-4E22-1A40-9D3F-FE2F141E5C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0AF49D93-C78A-F646-92B0-A7932C43D9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318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ED9B2D-C513-AF40-B94F-355C174B8F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4875" y="0"/>
            <a:ext cx="3144838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49395" y="1563688"/>
            <a:ext cx="4581525" cy="338677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02A0D73-096C-844E-97C3-C4A4AF580F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CH"/>
              <a:t>BIENVENUE A l'EPFL</a:t>
            </a:r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EF5AC5C-A2B6-2848-8C47-96A168E211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Speaker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1B90E33-03D8-2143-B49F-B1474EE1A1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3FC7B5EC-066E-EC4A-B320-77DF64E6E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6" y="131032"/>
            <a:ext cx="3144520" cy="107275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895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04875" y="179553"/>
            <a:ext cx="7726363" cy="547812"/>
          </a:xfrm>
          <a:prstGeom prst="rect">
            <a:avLst/>
          </a:prstGeom>
        </p:spPr>
        <p:txBody>
          <a:bodyPr vert="horz" lIns="180000" tIns="0" rIns="72000" bIns="46800" rtlCol="0" anchor="t">
            <a:normAutofit/>
          </a:bodyPr>
          <a:lstStyle/>
          <a:p>
            <a:r>
              <a:rPr lang="en-GB" noProof="0" dirty="0" err="1"/>
              <a:t>Modifiez</a:t>
            </a:r>
            <a:r>
              <a:rPr lang="en-GB" noProof="0" dirty="0"/>
              <a:t> le style du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4875" y="890917"/>
            <a:ext cx="7726363" cy="4059543"/>
          </a:xfrm>
          <a:prstGeom prst="rect">
            <a:avLst/>
          </a:prstGeom>
        </p:spPr>
        <p:txBody>
          <a:bodyPr vert="horz" lIns="180000" tIns="45720" rIns="91440" bIns="45720" rtlCol="0">
            <a:normAutofit/>
          </a:bodyPr>
          <a:lstStyle/>
          <a:p>
            <a:pPr lvl="0"/>
            <a:r>
              <a:rPr lang="en-GB" noProof="0" dirty="0"/>
              <a:t>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r>
              <a:rPr lang="en-GB" noProof="0" dirty="0"/>
              <a:t>
</a:t>
            </a:r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r>
              <a:rPr lang="en-GB" noProof="0" dirty="0"/>
              <a:t>
</a:t>
            </a:r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221413" y="2778452"/>
            <a:ext cx="3341052" cy="9115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fr-CH" noProof="0"/>
              <a:t>BIENVENUE A l'EPF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115989" y="1874064"/>
            <a:ext cx="3543260" cy="5127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noProof="0"/>
              <a:t>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1238" y="195263"/>
            <a:ext cx="512762" cy="163552"/>
          </a:xfrm>
          <a:prstGeom prst="rect">
            <a:avLst/>
          </a:prstGeom>
        </p:spPr>
        <p:txBody>
          <a:bodyPr vert="horz" lIns="90000" tIns="0" rIns="90000" bIns="0" rtlCol="0" anchor="t"/>
          <a:lstStyle>
            <a:lvl1pPr algn="ctr">
              <a:defRPr sz="700" b="1">
                <a:solidFill>
                  <a:schemeClr val="tx1"/>
                </a:solidFill>
                <a:latin typeface="+mj-lt"/>
              </a:defRPr>
            </a:lvl1pPr>
          </a:lstStyle>
          <a:p>
            <a:fld id="{E1E1CD7C-2161-7D43-862E-CE4C333CD873}" type="slidenum">
              <a:rPr lang="en-GB" noProof="0" smtClean="0"/>
              <a:pPr/>
              <a:t>‹N°›</a:t>
            </a:fld>
            <a:endParaRPr lang="en-GB" noProof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17E6E68-87EB-C34E-85D5-C26372DFEC9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30273" y="132334"/>
            <a:ext cx="653952" cy="28302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5D7A1C0-94CD-D94F-A99F-21847E542637}"/>
              </a:ext>
            </a:extLst>
          </p:cNvPr>
          <p:cNvSpPr/>
          <p:nvPr userDrawn="1"/>
        </p:nvSpPr>
        <p:spPr>
          <a:xfrm rot="16200000">
            <a:off x="430003" y="4897709"/>
            <a:ext cx="45719" cy="597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48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3" r:id="rId3"/>
    <p:sldLayoutId id="2147483681" r:id="rId4"/>
    <p:sldLayoutId id="2147483673" r:id="rId5"/>
    <p:sldLayoutId id="2147483685" r:id="rId6"/>
    <p:sldLayoutId id="2147483662" r:id="rId7"/>
    <p:sldLayoutId id="2147483674" r:id="rId8"/>
    <p:sldLayoutId id="2147483675" r:id="rId9"/>
    <p:sldLayoutId id="2147483676" r:id="rId10"/>
    <p:sldLayoutId id="2147483664" r:id="rId11"/>
    <p:sldLayoutId id="2147483666" r:id="rId12"/>
    <p:sldLayoutId id="2147483677" r:id="rId13"/>
    <p:sldLayoutId id="2147483678" r:id="rId14"/>
    <p:sldLayoutId id="2147483679" r:id="rId15"/>
    <p:sldLayoutId id="2147483667" r:id="rId16"/>
    <p:sldLayoutId id="2147483686" r:id="rId17"/>
    <p:sldLayoutId id="2147483688" r:id="rId18"/>
    <p:sldLayoutId id="2147483689" r:id="rId19"/>
    <p:sldLayoutId id="2147483690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b="1" i="0" kern="1000" spc="-70" baseline="0">
          <a:solidFill>
            <a:schemeClr val="tx1"/>
          </a:solidFill>
          <a:latin typeface="Franklin Gothic Demi Cond" panose="020B0706030402020204" pitchFamily="34" charset="0"/>
          <a:ea typeface="Roboto Black" panose="02000000000000000000" pitchFamily="2" charset="0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SzPct val="90000"/>
        <a:buFont typeface="Wingdings" pitchFamily="2" charset="2"/>
        <a:buChar char="§"/>
        <a:defRPr sz="15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126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orient="horz" pos="123" userDrawn="1">
          <p15:clr>
            <a:srgbClr val="F26B43"/>
          </p15:clr>
        </p15:guide>
        <p15:guide id="6" orient="horz" pos="3117" userDrawn="1">
          <p15:clr>
            <a:srgbClr val="F26B43"/>
          </p15:clr>
        </p15:guide>
        <p15:guide id="7" pos="570" userDrawn="1">
          <p15:clr>
            <a:srgbClr val="F26B43"/>
          </p15:clr>
        </p15:guide>
        <p15:guide id="8" pos="1155" userDrawn="1">
          <p15:clr>
            <a:srgbClr val="F26B43"/>
          </p15:clr>
        </p15:guide>
        <p15:guide id="9" pos="1728" userDrawn="1">
          <p15:clr>
            <a:srgbClr val="F26B43"/>
          </p15:clr>
        </p15:guide>
        <p15:guide id="10" pos="2304" userDrawn="1">
          <p15:clr>
            <a:srgbClr val="F26B43"/>
          </p15:clr>
        </p15:guide>
        <p15:guide id="11" pos="3456" userDrawn="1">
          <p15:clr>
            <a:srgbClr val="F26B43"/>
          </p15:clr>
        </p15:guide>
        <p15:guide id="12" pos="4035" userDrawn="1">
          <p15:clr>
            <a:srgbClr val="F26B43"/>
          </p15:clr>
        </p15:guide>
        <p15:guide id="13" pos="4608" userDrawn="1">
          <p15:clr>
            <a:srgbClr val="F26B43"/>
          </p15:clr>
        </p15:guide>
        <p15:guide id="14" pos="5180" userDrawn="1">
          <p15:clr>
            <a:srgbClr val="F26B43"/>
          </p15:clr>
        </p15:guide>
        <p15:guide id="15" orient="horz" pos="490" userDrawn="1">
          <p15:clr>
            <a:srgbClr val="F26B43"/>
          </p15:clr>
        </p15:guide>
        <p15:guide id="16" orient="horz" pos="985" userDrawn="1">
          <p15:clr>
            <a:srgbClr val="F26B43"/>
          </p15:clr>
        </p15:guide>
        <p15:guide id="17" orient="horz" pos="1475" userDrawn="1">
          <p15:clr>
            <a:srgbClr val="F26B43"/>
          </p15:clr>
        </p15:guide>
        <p15:guide id="18" orient="horz" pos="1962" userDrawn="1">
          <p15:clr>
            <a:srgbClr val="F26B43"/>
          </p15:clr>
        </p15:guide>
        <p15:guide id="19" orient="horz" pos="2458" userDrawn="1">
          <p15:clr>
            <a:srgbClr val="F26B43"/>
          </p15:clr>
        </p15:guide>
        <p15:guide id="20" orient="horz" pos="2950" userDrawn="1">
          <p15:clr>
            <a:srgbClr val="F26B43"/>
          </p15:clr>
        </p15:guide>
        <p15:guide id="21" pos="5437" userDrawn="1">
          <p15:clr>
            <a:srgbClr val="F26B43"/>
          </p15:clr>
        </p15:guide>
        <p15:guide id="22" orient="horz" userDrawn="1">
          <p15:clr>
            <a:srgbClr val="F26B43"/>
          </p15:clr>
        </p15:guide>
        <p15:guide id="23" pos="5760" userDrawn="1">
          <p15:clr>
            <a:srgbClr val="F26B43"/>
          </p15:clr>
        </p15:guide>
        <p15:guide id="24" orient="horz" pos="3240" userDrawn="1">
          <p15:clr>
            <a:srgbClr val="F26B43"/>
          </p15:clr>
        </p15:guide>
        <p15:guide id="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martvote.ch/fr/home?locale=fr_CH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tiff"/><Relationship Id="rId12" Type="http://schemas.openxmlformats.org/officeDocument/2006/relationships/image" Target="../media/image24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tiff"/><Relationship Id="rId3" Type="http://schemas.openxmlformats.org/officeDocument/2006/relationships/image" Target="../media/image26.tiff"/><Relationship Id="rId7" Type="http://schemas.openxmlformats.org/officeDocument/2006/relationships/image" Target="../media/image30.jp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11" Type="http://schemas.openxmlformats.org/officeDocument/2006/relationships/image" Target="../media/image34.jpeg"/><Relationship Id="rId5" Type="http://schemas.openxmlformats.org/officeDocument/2006/relationships/image" Target="../media/image28.tiff"/><Relationship Id="rId10" Type="http://schemas.openxmlformats.org/officeDocument/2006/relationships/image" Target="../media/image33.jpeg"/><Relationship Id="rId4" Type="http://schemas.openxmlformats.org/officeDocument/2006/relationships/image" Target="../media/image27.tiff"/><Relationship Id="rId9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Relationship Id="rId6" Type="http://schemas.openxmlformats.org/officeDocument/2006/relationships/image" Target="../media/image36.jpe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C4FDD288-0AE2-85B2-A425-46D01D35C7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4875" y="1190068"/>
            <a:ext cx="4581525" cy="3760392"/>
          </a:xfrm>
        </p:spPr>
        <p:txBody>
          <a:bodyPr/>
          <a:lstStyle/>
          <a:p>
            <a:r>
              <a:rPr lang="fr-CH" dirty="0" err="1"/>
              <a:t>Develop</a:t>
            </a:r>
            <a:r>
              <a:rPr lang="fr-CH" dirty="0"/>
              <a:t> an EPFL application to </a:t>
            </a:r>
            <a:r>
              <a:rPr lang="fr-CH" dirty="0" err="1"/>
              <a:t>foster</a:t>
            </a:r>
            <a:r>
              <a:rPr lang="fr-CH" dirty="0"/>
              <a:t> </a:t>
            </a:r>
            <a:r>
              <a:rPr lang="fr-CH" dirty="0" err="1"/>
              <a:t>sustainable</a:t>
            </a:r>
            <a:r>
              <a:rPr lang="fr-CH" dirty="0"/>
              <a:t> </a:t>
            </a:r>
            <a:r>
              <a:rPr lang="fr-CH" dirty="0" err="1"/>
              <a:t>projects</a:t>
            </a:r>
            <a:r>
              <a:rPr lang="fr-CH" dirty="0"/>
              <a:t> on campus</a:t>
            </a:r>
          </a:p>
          <a:p>
            <a:endParaRPr lang="fr-CH" dirty="0"/>
          </a:p>
          <a:p>
            <a:r>
              <a:rPr lang="fr-CH" dirty="0" err="1"/>
              <a:t>Helping</a:t>
            </a:r>
            <a:r>
              <a:rPr lang="fr-CH" dirty="0"/>
              <a:t> people to vote and </a:t>
            </a:r>
            <a:r>
              <a:rPr lang="fr-CH" dirty="0" err="1"/>
              <a:t>act</a:t>
            </a:r>
            <a:r>
              <a:rPr lang="fr-CH" dirty="0"/>
              <a:t> !</a:t>
            </a:r>
          </a:p>
          <a:p>
            <a:endParaRPr lang="fr-CH" dirty="0"/>
          </a:p>
          <a:p>
            <a:r>
              <a:rPr lang="fr-CH" dirty="0"/>
              <a:t>Open source code and AI </a:t>
            </a:r>
            <a:r>
              <a:rPr lang="fr-CH" dirty="0" err="1"/>
              <a:t>embedded</a:t>
            </a:r>
            <a:endParaRPr lang="fr-CH" dirty="0"/>
          </a:p>
          <a:p>
            <a:endParaRPr lang="fr-CH" dirty="0"/>
          </a:p>
          <a:p>
            <a:r>
              <a:rPr lang="en-US" dirty="0"/>
              <a:t>Price – </a:t>
            </a:r>
            <a:r>
              <a:rPr lang="en-US" dirty="0" err="1"/>
              <a:t>Balèlec</a:t>
            </a:r>
            <a:r>
              <a:rPr lang="en-US" dirty="0"/>
              <a:t> tickets or gift bask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5E14B9-3EBD-6422-2887-163D48CDB0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627" t="12487" r="28369" b="2"/>
          <a:stretch/>
        </p:blipFill>
        <p:spPr>
          <a:xfrm>
            <a:off x="5486400" y="642256"/>
            <a:ext cx="3144838" cy="4501243"/>
          </a:xfrm>
          <a:prstGeom prst="rect">
            <a:avLst/>
          </a:prstGeom>
          <a:noFill/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BCBAD0BF-DFC3-99F8-7366-F63A65932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179553"/>
            <a:ext cx="7726363" cy="547812"/>
          </a:xfrm>
        </p:spPr>
        <p:txBody>
          <a:bodyPr/>
          <a:lstStyle/>
          <a:p>
            <a:r>
              <a:rPr lang="en-US" dirty="0"/>
              <a:t>Help to get your voice into EPFL sustainability</a:t>
            </a:r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6871EC91-BAA6-94F1-35D4-2A29FE11DBD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-1221413" y="2778452"/>
            <a:ext cx="3341052" cy="91152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902E9D21-DB8B-0C9D-D7F7-3A965F06F2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7115989" y="1874064"/>
            <a:ext cx="3543260" cy="51276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fr-FR" dirty="0"/>
              <a:t>Manuel Cubero-Castan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18F02E7D-F21F-B8D7-4FC1-B96A3552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31238" y="195263"/>
            <a:ext cx="512762" cy="163552"/>
          </a:xfrm>
        </p:spPr>
        <p:txBody>
          <a:bodyPr/>
          <a:lstStyle/>
          <a:p>
            <a:pPr>
              <a:spcAft>
                <a:spcPts val="600"/>
              </a:spcAft>
            </a:pPr>
            <a:fld id="{E1E1CD7C-2161-7D43-862E-CE4C333CD873}" type="slidenum">
              <a:rPr lang="fr-FR" smtClean="0"/>
              <a:pPr>
                <a:spcAft>
                  <a:spcPts val="600"/>
                </a:spcAft>
              </a:pPr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702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C76CF6A8-D855-4003-A043-21BAD91512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>
              <a:lnSpc>
                <a:spcPct val="150000"/>
              </a:lnSpc>
            </a:pPr>
            <a:r>
              <a:rPr lang="fr-CH" dirty="0"/>
              <a:t>Aim: </a:t>
            </a:r>
            <a:r>
              <a:rPr lang="fr-CH" dirty="0" err="1"/>
              <a:t>Fostering</a:t>
            </a:r>
            <a:r>
              <a:rPr lang="fr-CH" dirty="0"/>
              <a:t> </a:t>
            </a:r>
            <a:r>
              <a:rPr lang="fr-CH" dirty="0" err="1"/>
              <a:t>sustainable</a:t>
            </a:r>
            <a:r>
              <a:rPr lang="fr-CH" dirty="0"/>
              <a:t> </a:t>
            </a:r>
            <a:r>
              <a:rPr lang="fr-CH" dirty="0" err="1"/>
              <a:t>projects</a:t>
            </a:r>
            <a:r>
              <a:rPr lang="fr-CH" dirty="0"/>
              <a:t> (</a:t>
            </a:r>
            <a:r>
              <a:rPr lang="fr-CH" dirty="0" err="1"/>
              <a:t>ideas</a:t>
            </a:r>
            <a:r>
              <a:rPr lang="fr-CH" dirty="0"/>
              <a:t>, concept) on EPFL campus, </a:t>
            </a:r>
            <a:r>
              <a:rPr lang="fr-CH" dirty="0" err="1"/>
              <a:t>that</a:t>
            </a:r>
            <a:r>
              <a:rPr lang="fr-CH" dirty="0"/>
              <a:t> came </a:t>
            </a:r>
            <a:r>
              <a:rPr lang="fr-CH" dirty="0" err="1"/>
              <a:t>from</a:t>
            </a:r>
            <a:r>
              <a:rPr lang="fr-CH" dirty="0"/>
              <a:t> and </a:t>
            </a:r>
            <a:r>
              <a:rPr lang="fr-CH" dirty="0" err="1"/>
              <a:t>debated</a:t>
            </a:r>
            <a:r>
              <a:rPr lang="fr-CH" dirty="0"/>
              <a:t> </a:t>
            </a:r>
            <a:r>
              <a:rPr lang="fr-CH" dirty="0" err="1"/>
              <a:t>from</a:t>
            </a:r>
            <a:r>
              <a:rPr lang="fr-CH" dirty="0"/>
              <a:t> EPFL </a:t>
            </a:r>
            <a:r>
              <a:rPr lang="fr-CH" dirty="0" err="1"/>
              <a:t>community</a:t>
            </a:r>
            <a:endParaRPr lang="fr-CH" dirty="0"/>
          </a:p>
          <a:p>
            <a:pPr>
              <a:lnSpc>
                <a:spcPct val="150000"/>
              </a:lnSpc>
            </a:pPr>
            <a:r>
              <a:rPr lang="fr-CH" dirty="0"/>
              <a:t>2 phases application</a:t>
            </a:r>
          </a:p>
          <a:p>
            <a:pPr lvl="1">
              <a:lnSpc>
                <a:spcPct val="150000"/>
              </a:lnSpc>
            </a:pPr>
            <a:r>
              <a:rPr lang="fr-CH" dirty="0" err="1"/>
              <a:t>Poll</a:t>
            </a:r>
            <a:r>
              <a:rPr lang="fr-CH" dirty="0"/>
              <a:t> about questions </a:t>
            </a:r>
            <a:r>
              <a:rPr lang="fr-CH" dirty="0" err="1"/>
              <a:t>asked</a:t>
            </a:r>
            <a:r>
              <a:rPr lang="fr-CH" dirty="0"/>
              <a:t> </a:t>
            </a:r>
            <a:r>
              <a:rPr lang="fr-CH" dirty="0" err="1"/>
              <a:t>from</a:t>
            </a:r>
            <a:r>
              <a:rPr lang="fr-CH" dirty="0"/>
              <a:t> central services (VPT / Presidency)</a:t>
            </a:r>
          </a:p>
          <a:p>
            <a:pPr lvl="1">
              <a:lnSpc>
                <a:spcPct val="150000"/>
              </a:lnSpc>
            </a:pPr>
            <a:r>
              <a:rPr lang="fr-CH" dirty="0"/>
              <a:t>Have a </a:t>
            </a:r>
            <a:r>
              <a:rPr lang="fr-CH" dirty="0" err="1"/>
              <a:t>list</a:t>
            </a:r>
            <a:r>
              <a:rPr lang="fr-CH" dirty="0"/>
              <a:t> for </a:t>
            </a:r>
            <a:r>
              <a:rPr lang="fr-CH" dirty="0" err="1"/>
              <a:t>project</a:t>
            </a:r>
            <a:r>
              <a:rPr lang="fr-CH" dirty="0"/>
              <a:t> </a:t>
            </a:r>
            <a:r>
              <a:rPr lang="fr-CH" dirty="0" err="1"/>
              <a:t>that</a:t>
            </a:r>
            <a:r>
              <a:rPr lang="fr-CH" dirty="0"/>
              <a:t> participants </a:t>
            </a:r>
            <a:r>
              <a:rPr lang="fr-CH" dirty="0" err="1"/>
              <a:t>answered</a:t>
            </a:r>
            <a:r>
              <a:rPr lang="fr-CH" dirty="0"/>
              <a:t> yes </a:t>
            </a:r>
            <a:r>
              <a:rPr lang="fr-CH" dirty="0" err="1"/>
              <a:t>with</a:t>
            </a:r>
            <a:r>
              <a:rPr lang="fr-CH" dirty="0"/>
              <a:t> time </a:t>
            </a:r>
            <a:r>
              <a:rPr lang="fr-CH" dirty="0" err="1"/>
              <a:t>available</a:t>
            </a:r>
            <a:r>
              <a:rPr lang="fr-CH" dirty="0"/>
              <a:t> to </a:t>
            </a:r>
            <a:r>
              <a:rPr lang="fr-CH" dirty="0" err="1"/>
              <a:t>spend</a:t>
            </a:r>
            <a:r>
              <a:rPr lang="fr-CH" dirty="0"/>
              <a:t> on.</a:t>
            </a:r>
          </a:p>
          <a:p>
            <a:pPr>
              <a:lnSpc>
                <a:spcPct val="150000"/>
              </a:lnSpc>
            </a:pPr>
            <a:r>
              <a:rPr lang="fr-CH" dirty="0" err="1"/>
              <a:t>Requesite</a:t>
            </a:r>
            <a:r>
              <a:rPr lang="fr-CH" dirty="0"/>
              <a:t>:</a:t>
            </a:r>
          </a:p>
          <a:p>
            <a:pPr lvl="1">
              <a:lnSpc>
                <a:spcPct val="150000"/>
              </a:lnSpc>
            </a:pPr>
            <a:r>
              <a:rPr lang="fr-CH" dirty="0"/>
              <a:t>Open source code, and </a:t>
            </a:r>
            <a:r>
              <a:rPr lang="fr-CH" dirty="0" err="1"/>
              <a:t>easily</a:t>
            </a:r>
            <a:r>
              <a:rPr lang="fr-CH" dirty="0"/>
              <a:t> </a:t>
            </a:r>
            <a:r>
              <a:rPr lang="fr-CH" dirty="0" err="1"/>
              <a:t>changed</a:t>
            </a:r>
            <a:r>
              <a:rPr lang="fr-CH" dirty="0"/>
              <a:t> for </a:t>
            </a:r>
            <a:r>
              <a:rPr lang="fr-CH" dirty="0" err="1"/>
              <a:t>other</a:t>
            </a:r>
            <a:r>
              <a:rPr lang="fr-CH" dirty="0"/>
              <a:t> usage</a:t>
            </a:r>
          </a:p>
          <a:p>
            <a:pPr lvl="2">
              <a:lnSpc>
                <a:spcPct val="150000"/>
              </a:lnSpc>
            </a:pPr>
            <a:r>
              <a:rPr lang="fr-CH" dirty="0"/>
              <a:t>question </a:t>
            </a:r>
            <a:r>
              <a:rPr lang="fr-CH" dirty="0" err="1"/>
              <a:t>from</a:t>
            </a:r>
            <a:r>
              <a:rPr lang="fr-CH" dirty="0"/>
              <a:t> all </a:t>
            </a:r>
            <a:r>
              <a:rPr lang="fr-CH" dirty="0" err="1"/>
              <a:t>community</a:t>
            </a:r>
            <a:r>
              <a:rPr lang="fr-CH" dirty="0"/>
              <a:t>,</a:t>
            </a:r>
          </a:p>
          <a:p>
            <a:pPr lvl="2">
              <a:lnSpc>
                <a:spcPct val="150000"/>
              </a:lnSpc>
            </a:pPr>
            <a:r>
              <a:rPr lang="fr-CH" dirty="0" err="1"/>
              <a:t>with</a:t>
            </a:r>
            <a:r>
              <a:rPr lang="fr-CH" dirty="0"/>
              <a:t> or </a:t>
            </a:r>
            <a:r>
              <a:rPr lang="fr-CH" dirty="0" err="1"/>
              <a:t>without</a:t>
            </a:r>
            <a:r>
              <a:rPr lang="fr-CH" dirty="0"/>
              <a:t> anonymisation/</a:t>
            </a:r>
            <a:r>
              <a:rPr lang="fr-CH" dirty="0" err="1"/>
              <a:t>moderation</a:t>
            </a:r>
            <a:r>
              <a:rPr lang="fr-CH" dirty="0"/>
              <a:t>,</a:t>
            </a:r>
          </a:p>
          <a:p>
            <a:pPr lvl="2">
              <a:lnSpc>
                <a:spcPct val="150000"/>
              </a:lnSpc>
            </a:pPr>
            <a:r>
              <a:rPr lang="fr-CH" dirty="0" err="1"/>
              <a:t>Add</a:t>
            </a:r>
            <a:r>
              <a:rPr lang="fr-CH" dirty="0"/>
              <a:t> questions and forum </a:t>
            </a:r>
            <a:r>
              <a:rPr lang="fr-CH" dirty="0" err="1"/>
              <a:t>debate</a:t>
            </a:r>
            <a:endParaRPr lang="fr-CH" dirty="0"/>
          </a:p>
          <a:p>
            <a:pPr lvl="2">
              <a:lnSpc>
                <a:spcPct val="150000"/>
              </a:lnSpc>
            </a:pPr>
            <a:r>
              <a:rPr lang="fr-CH" dirty="0" err="1"/>
              <a:t>Meetup</a:t>
            </a:r>
            <a:r>
              <a:rPr lang="fr-CH" dirty="0"/>
              <a:t> app </a:t>
            </a:r>
            <a:r>
              <a:rPr lang="fr-CH" dirty="0" err="1"/>
              <a:t>during</a:t>
            </a:r>
            <a:r>
              <a:rPr lang="fr-CH" dirty="0"/>
              <a:t> lunch to </a:t>
            </a:r>
            <a:r>
              <a:rPr lang="fr-CH" dirty="0" err="1"/>
              <a:t>foster</a:t>
            </a:r>
            <a:r>
              <a:rPr lang="fr-CH" dirty="0"/>
              <a:t> meeting </a:t>
            </a:r>
            <a:r>
              <a:rPr lang="fr-CH" dirty="0" err="1"/>
              <a:t>according</a:t>
            </a:r>
            <a:r>
              <a:rPr lang="fr-CH" dirty="0"/>
              <a:t> to </a:t>
            </a:r>
            <a:r>
              <a:rPr lang="fr-CH" dirty="0" err="1"/>
              <a:t>availability</a:t>
            </a:r>
            <a:r>
              <a:rPr lang="fr-CH" dirty="0"/>
              <a:t> / </a:t>
            </a:r>
            <a:r>
              <a:rPr lang="fr-CH" dirty="0" err="1"/>
              <a:t>random</a:t>
            </a:r>
            <a:endParaRPr lang="fr-CH" dirty="0"/>
          </a:p>
          <a:p>
            <a:pPr lvl="1">
              <a:lnSpc>
                <a:spcPct val="150000"/>
              </a:lnSpc>
            </a:pPr>
            <a:r>
              <a:rPr lang="fr-CH" dirty="0"/>
              <a:t>AI to </a:t>
            </a:r>
            <a:r>
              <a:rPr lang="fr-CH" dirty="0" err="1"/>
              <a:t>resume</a:t>
            </a:r>
            <a:r>
              <a:rPr lang="fr-CH" dirty="0"/>
              <a:t> concept on </a:t>
            </a:r>
            <a:r>
              <a:rPr lang="fr-CH" dirty="0" err="1"/>
              <a:t>debated</a:t>
            </a:r>
            <a:r>
              <a:rPr lang="fr-CH" dirty="0"/>
              <a:t> arguments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1E29D2B-CEC0-40D2-A63E-8AA6D6B5B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Sustainability Challenge - Content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3C7049-E80A-4508-AA57-DF4A04AC7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96BAC46-E1A0-4F4A-BA1A-E3C0430E6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C4C64A-463A-4547-86AB-EB8C05B73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504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8F9DE720-4156-4ADE-9037-53C734E378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fr-CH" dirty="0" err="1"/>
              <a:t>Voting</a:t>
            </a:r>
            <a:r>
              <a:rPr lang="fr-CH" dirty="0"/>
              <a:t> system </a:t>
            </a:r>
            <a:r>
              <a:rPr lang="fr-CH" dirty="0" err="1"/>
              <a:t>inspired</a:t>
            </a:r>
            <a:r>
              <a:rPr lang="fr-CH" dirty="0"/>
              <a:t> </a:t>
            </a:r>
            <a:r>
              <a:rPr lang="fr-CH" dirty="0" err="1"/>
              <a:t>from</a:t>
            </a:r>
            <a:r>
              <a:rPr lang="fr-CH" dirty="0"/>
              <a:t> </a:t>
            </a:r>
            <a:r>
              <a:rPr lang="fr-CH" dirty="0" err="1">
                <a:hlinkClick r:id="rId2"/>
              </a:rPr>
              <a:t>SmartVote</a:t>
            </a:r>
            <a:endParaRPr lang="fr-CH" dirty="0"/>
          </a:p>
          <a:p>
            <a:pPr>
              <a:lnSpc>
                <a:spcPct val="150000"/>
              </a:lnSpc>
            </a:pPr>
            <a:r>
              <a:rPr lang="fr-CH" dirty="0" err="1"/>
              <a:t>Make</a:t>
            </a:r>
            <a:r>
              <a:rPr lang="fr-CH" dirty="0"/>
              <a:t> the </a:t>
            </a:r>
            <a:r>
              <a:rPr lang="fr-CH" dirty="0" err="1"/>
              <a:t>choice</a:t>
            </a:r>
            <a:r>
              <a:rPr lang="fr-CH" dirty="0"/>
              <a:t> for participants </a:t>
            </a:r>
            <a:r>
              <a:rPr lang="fr-CH" dirty="0" err="1"/>
              <a:t>that</a:t>
            </a:r>
            <a:r>
              <a:rPr lang="fr-CH" dirty="0"/>
              <a:t> vote for a </a:t>
            </a:r>
            <a:r>
              <a:rPr lang="fr-CH" dirty="0" err="1"/>
              <a:t>project</a:t>
            </a:r>
            <a:r>
              <a:rPr lang="fr-CH" dirty="0"/>
              <a:t> to mention how </a:t>
            </a:r>
            <a:r>
              <a:rPr lang="fr-CH" dirty="0" err="1"/>
              <a:t>much</a:t>
            </a:r>
            <a:r>
              <a:rPr lang="fr-CH" dirty="0"/>
              <a:t> time can </a:t>
            </a:r>
            <a:r>
              <a:rPr lang="fr-CH" dirty="0" err="1"/>
              <a:t>they</a:t>
            </a:r>
            <a:r>
              <a:rPr lang="fr-CH" dirty="0"/>
              <a:t> </a:t>
            </a:r>
            <a:r>
              <a:rPr lang="fr-CH" dirty="0" err="1"/>
              <a:t>spend</a:t>
            </a:r>
            <a:r>
              <a:rPr lang="fr-CH" dirty="0"/>
              <a:t>/</a:t>
            </a:r>
            <a:r>
              <a:rPr lang="fr-CH" dirty="0" err="1"/>
              <a:t>give</a:t>
            </a:r>
            <a:r>
              <a:rPr lang="fr-CH" dirty="0"/>
              <a:t> on </a:t>
            </a:r>
            <a:r>
              <a:rPr lang="fr-CH" dirty="0" err="1"/>
              <a:t>such</a:t>
            </a:r>
            <a:r>
              <a:rPr lang="fr-CH" dirty="0"/>
              <a:t> </a:t>
            </a:r>
            <a:r>
              <a:rPr lang="fr-CH" dirty="0" err="1"/>
              <a:t>projects</a:t>
            </a:r>
            <a:endParaRPr lang="fr-CH" dirty="0"/>
          </a:p>
          <a:p>
            <a:pPr lvl="1">
              <a:lnSpc>
                <a:spcPct val="150000"/>
              </a:lnSpc>
            </a:pPr>
            <a:r>
              <a:rPr lang="fr-CH" dirty="0">
                <a:sym typeface="Wingdings" panose="05000000000000000000" pitchFamily="2" charset="2"/>
              </a:rPr>
              <a:t>Foster initiative and encourage action </a:t>
            </a:r>
            <a:r>
              <a:rPr lang="fr-CH" dirty="0" err="1">
                <a:sym typeface="Wingdings" panose="05000000000000000000" pitchFamily="2" charset="2"/>
              </a:rPr>
              <a:t>from</a:t>
            </a:r>
            <a:r>
              <a:rPr lang="fr-CH" dirty="0">
                <a:sym typeface="Wingdings" panose="05000000000000000000" pitchFamily="2" charset="2"/>
              </a:rPr>
              <a:t> the </a:t>
            </a:r>
            <a:r>
              <a:rPr lang="fr-CH" dirty="0" err="1">
                <a:sym typeface="Wingdings" panose="05000000000000000000" pitchFamily="2" charset="2"/>
              </a:rPr>
              <a:t>community</a:t>
            </a:r>
            <a:endParaRPr lang="fr-CH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fr-CH" dirty="0">
                <a:sym typeface="Wingdings" panose="05000000000000000000" pitchFamily="2" charset="2"/>
              </a:rPr>
              <a:t>Timing crowdfunding = </a:t>
            </a:r>
            <a:r>
              <a:rPr lang="fr-CH" dirty="0" err="1">
                <a:sym typeface="Wingdings" panose="05000000000000000000" pitchFamily="2" charset="2"/>
              </a:rPr>
              <a:t>Random</a:t>
            </a:r>
            <a:r>
              <a:rPr lang="fr-CH" dirty="0">
                <a:sym typeface="Wingdings" panose="05000000000000000000" pitchFamily="2" charset="2"/>
              </a:rPr>
              <a:t> </a:t>
            </a:r>
            <a:r>
              <a:rPr lang="fr-CH" dirty="0" err="1">
                <a:sym typeface="Wingdings" panose="05000000000000000000" pitchFamily="2" charset="2"/>
              </a:rPr>
              <a:t>draw</a:t>
            </a:r>
            <a:r>
              <a:rPr lang="fr-CH" dirty="0">
                <a:sym typeface="Wingdings" panose="05000000000000000000" pitchFamily="2" charset="2"/>
              </a:rPr>
              <a:t> for participants </a:t>
            </a:r>
            <a:r>
              <a:rPr lang="fr-CH" dirty="0" err="1">
                <a:sym typeface="Wingdings" panose="05000000000000000000" pitchFamily="2" charset="2"/>
              </a:rPr>
              <a:t>that</a:t>
            </a:r>
            <a:r>
              <a:rPr lang="fr-CH" dirty="0">
                <a:sym typeface="Wingdings" panose="05000000000000000000" pitchFamily="2" charset="2"/>
              </a:rPr>
              <a:t> have </a:t>
            </a:r>
            <a:r>
              <a:rPr lang="fr-CH" dirty="0" err="1">
                <a:sym typeface="Wingdings" panose="05000000000000000000" pitchFamily="2" charset="2"/>
              </a:rPr>
              <a:t>voted</a:t>
            </a:r>
            <a:r>
              <a:rPr lang="fr-CH" dirty="0">
                <a:sym typeface="Wingdings" panose="05000000000000000000" pitchFamily="2" charset="2"/>
              </a:rPr>
              <a:t> yes for the </a:t>
            </a:r>
            <a:r>
              <a:rPr lang="fr-CH" dirty="0" err="1">
                <a:sym typeface="Wingdings" panose="05000000000000000000" pitchFamily="2" charset="2"/>
              </a:rPr>
              <a:t>projects</a:t>
            </a:r>
            <a:r>
              <a:rPr lang="fr-CH" dirty="0">
                <a:sym typeface="Wingdings" panose="05000000000000000000" pitchFamily="2" charset="2"/>
              </a:rPr>
              <a:t> and can </a:t>
            </a:r>
            <a:r>
              <a:rPr lang="fr-CH" dirty="0" err="1">
                <a:sym typeface="Wingdings" panose="05000000000000000000" pitchFamily="2" charset="2"/>
              </a:rPr>
              <a:t>spend</a:t>
            </a:r>
            <a:r>
              <a:rPr lang="fr-CH" dirty="0">
                <a:sym typeface="Wingdings" panose="05000000000000000000" pitchFamily="2" charset="2"/>
              </a:rPr>
              <a:t> time for </a:t>
            </a:r>
            <a:r>
              <a:rPr lang="fr-CH" dirty="0" err="1">
                <a:sym typeface="Wingdings" panose="05000000000000000000" pitchFamily="2" charset="2"/>
              </a:rPr>
              <a:t>it</a:t>
            </a:r>
            <a:endParaRPr lang="fr-CH" dirty="0">
              <a:sym typeface="Wingdings" panose="05000000000000000000" pitchFamily="2" charset="2"/>
            </a:endParaRPr>
          </a:p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D749DF4-8431-427F-B512-451BA675C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Some</a:t>
            </a:r>
            <a:r>
              <a:rPr lang="fr-CH" dirty="0"/>
              <a:t> </a:t>
            </a:r>
            <a:r>
              <a:rPr lang="fr-CH" dirty="0" err="1"/>
              <a:t>idea</a:t>
            </a:r>
            <a:r>
              <a:rPr lang="fr-CH" dirty="0"/>
              <a:t> </a:t>
            </a:r>
            <a:r>
              <a:rPr lang="fr-CH" dirty="0" err="1"/>
              <a:t>around</a:t>
            </a:r>
            <a:r>
              <a:rPr lang="fr-CH" dirty="0"/>
              <a:t> the challeng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FA6A9D-8FAA-46E2-B182-A57030007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FA3C98C-70C9-472E-A8B3-B91E0E963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7B0E66E-55F3-44E3-96C1-C189FDC5D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010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C5DC9A4D-B7CD-3F49-976D-9809C46B7DE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9937" t="12184" b="2246"/>
          <a:stretch/>
        </p:blipFill>
        <p:spPr>
          <a:xfrm>
            <a:off x="1331913" y="0"/>
            <a:ext cx="7812087" cy="4948238"/>
          </a:xfr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6AF2DA65-CF00-774A-9D7C-EEFA627B21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4894" y="1739900"/>
            <a:ext cx="2149106" cy="1835150"/>
          </a:xfrm>
        </p:spPr>
        <p:txBody>
          <a:bodyPr>
            <a:normAutofit/>
          </a:bodyPr>
          <a:lstStyle/>
          <a:p>
            <a:r>
              <a:rPr lang="fr-FR" sz="4400" dirty="0"/>
              <a:t>Merci</a:t>
            </a:r>
          </a:p>
        </p:txBody>
      </p:sp>
      <p:sp>
        <p:nvSpPr>
          <p:cNvPr id="10" name="Sous-titre 9">
            <a:extLst>
              <a:ext uri="{FF2B5EF4-FFF2-40B4-BE49-F238E27FC236}">
                <a16:creationId xmlns:a16="http://schemas.microsoft.com/office/drawing/2014/main" id="{2F4A7CFE-65FA-E249-9125-D938BCA440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6094" y="3575050"/>
            <a:ext cx="1828800" cy="1568450"/>
          </a:xfrm>
          <a:solidFill>
            <a:schemeClr val="accent2"/>
          </a:solidFill>
        </p:spPr>
        <p:txBody>
          <a:bodyPr lIns="90000">
            <a:normAutofit/>
          </a:bodyPr>
          <a:lstStyle/>
          <a:p>
            <a:r>
              <a:rPr lang="fr-FR" sz="1400" b="1" dirty="0"/>
              <a:t>Manuel Cubero-Castan - VPT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272223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pour une image  6">
            <a:extLst>
              <a:ext uri="{FF2B5EF4-FFF2-40B4-BE49-F238E27FC236}">
                <a16:creationId xmlns:a16="http://schemas.microsoft.com/office/drawing/2014/main" id="{E960A335-C256-A843-B598-1911C29BAB6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7675" b="7675"/>
          <a:stretch>
            <a:fillRect/>
          </a:stretch>
        </p:blipFill>
        <p:spPr/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6AF2DA65-CF00-774A-9D7C-EEFA627B21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36406" y="869324"/>
            <a:ext cx="2807594" cy="2255598"/>
          </a:xfrm>
        </p:spPr>
        <p:txBody>
          <a:bodyPr>
            <a:normAutofit fontScale="90000"/>
          </a:bodyPr>
          <a:lstStyle/>
          <a:p>
            <a:r>
              <a:rPr lang="fr-FR" sz="4400" dirty="0" err="1"/>
              <a:t>LauzHack</a:t>
            </a:r>
            <a:r>
              <a:rPr lang="fr-FR" sz="4400" dirty="0"/>
              <a:t>  </a:t>
            </a:r>
            <a:br>
              <a:rPr lang="fr-FR" sz="4400" dirty="0"/>
            </a:br>
            <a:r>
              <a:rPr lang="fr-FR" sz="4400" dirty="0"/>
              <a:t>2023 – EPFL Challenge</a:t>
            </a:r>
          </a:p>
        </p:txBody>
      </p:sp>
      <p:sp>
        <p:nvSpPr>
          <p:cNvPr id="10" name="Sous-titre 9">
            <a:extLst>
              <a:ext uri="{FF2B5EF4-FFF2-40B4-BE49-F238E27FC236}">
                <a16:creationId xmlns:a16="http://schemas.microsoft.com/office/drawing/2014/main" id="{2F4A7CFE-65FA-E249-9125-D938BCA440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7606" y="3114675"/>
            <a:ext cx="1828800" cy="1568450"/>
          </a:xfrm>
        </p:spPr>
        <p:txBody>
          <a:bodyPr lIns="90000">
            <a:normAutofit/>
          </a:bodyPr>
          <a:lstStyle/>
          <a:p>
            <a:r>
              <a:rPr lang="fr-FR" sz="1400" b="1" dirty="0"/>
              <a:t>Manuel Cubero-Castan - VPT</a:t>
            </a:r>
            <a:endParaRPr lang="fr-FR" sz="14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AF0A55C-66AB-F046-AA02-AFC919A1C1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6406" y="4683125"/>
            <a:ext cx="1828800" cy="460375"/>
          </a:xfrm>
        </p:spPr>
        <p:txBody>
          <a:bodyPr/>
          <a:lstStyle/>
          <a:p>
            <a:r>
              <a:rPr lang="fr-FR" b="1" dirty="0"/>
              <a:t>02-03 Décembre 2023</a:t>
            </a:r>
          </a:p>
        </p:txBody>
      </p:sp>
    </p:spTree>
    <p:extLst>
      <p:ext uri="{BB962C8B-B14F-4D97-AF65-F5344CB8AC3E}">
        <p14:creationId xmlns:p14="http://schemas.microsoft.com/office/powerpoint/2010/main" val="213017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857555" y="236573"/>
            <a:ext cx="5539797" cy="6951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kern="1000" spc="-70" dirty="0"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Ecole Polytechnique Fédérale de Lausanne: </a:t>
            </a:r>
            <a:r>
              <a:rPr lang="fr-FR" sz="3200" kern="1000" spc="-70" dirty="0" err="1"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Who</a:t>
            </a:r>
            <a:r>
              <a:rPr lang="fr-FR" sz="3200" kern="1000" spc="-70" dirty="0"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are </a:t>
            </a:r>
            <a:r>
              <a:rPr lang="fr-FR" sz="3200" kern="1000" spc="-70" dirty="0" err="1"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we</a:t>
            </a:r>
            <a:r>
              <a:rPr lang="fr-FR" sz="3200" kern="1000" spc="-70" dirty="0"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74663" y="1675079"/>
            <a:ext cx="214363" cy="338832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213" y="1720585"/>
            <a:ext cx="266141" cy="26614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3352" y="1585222"/>
            <a:ext cx="492139" cy="492139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39776">
            <a:off x="237205" y="4792403"/>
            <a:ext cx="399816" cy="334846"/>
          </a:xfrm>
          <a:prstGeom prst="rect">
            <a:avLst/>
          </a:prstGeom>
        </p:spPr>
      </p:pic>
      <p:pic>
        <p:nvPicPr>
          <p:cNvPr id="24" name="Picture 20" descr="CH-EPS-01-0001.png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937" y="21902"/>
            <a:ext cx="1828195" cy="1247368"/>
          </a:xfrm>
          <a:prstGeom prst="rect">
            <a:avLst/>
          </a:prstGeom>
        </p:spPr>
      </p:pic>
      <p:pic>
        <p:nvPicPr>
          <p:cNvPr id="28" name="Picture 30" descr="pin-1630707_640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8785" y="482250"/>
            <a:ext cx="175465" cy="28501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168" y="1591396"/>
            <a:ext cx="417554" cy="417554"/>
          </a:xfrm>
          <a:prstGeom prst="rect">
            <a:avLst/>
          </a:prstGeom>
          <a:ln>
            <a:noFill/>
          </a:ln>
        </p:spPr>
      </p:pic>
      <p:pic>
        <p:nvPicPr>
          <p:cNvPr id="36" name="Image 7">
            <a:extLst>
              <a:ext uri="{FF2B5EF4-FFF2-40B4-BE49-F238E27FC236}">
                <a16:creationId xmlns:a16="http://schemas.microsoft.com/office/drawing/2014/main" id="{426937DE-6166-4720-B3D2-BBD130FB34A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742" y="3084751"/>
            <a:ext cx="417554" cy="417554"/>
          </a:xfrm>
          <a:prstGeom prst="rect">
            <a:avLst/>
          </a:prstGeom>
          <a:ln>
            <a:noFill/>
          </a:ln>
        </p:spPr>
      </p:pic>
      <p:pic>
        <p:nvPicPr>
          <p:cNvPr id="40" name="Image 17">
            <a:extLst>
              <a:ext uri="{FF2B5EF4-FFF2-40B4-BE49-F238E27FC236}">
                <a16:creationId xmlns:a16="http://schemas.microsoft.com/office/drawing/2014/main" id="{3C963492-1381-427A-9386-6B0A9802F5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4420" y="3242973"/>
            <a:ext cx="214363" cy="338832"/>
          </a:xfrm>
          <a:prstGeom prst="rect">
            <a:avLst/>
          </a:prstGeom>
        </p:spPr>
      </p:pic>
      <p:pic>
        <p:nvPicPr>
          <p:cNvPr id="44" name="Image 18">
            <a:extLst>
              <a:ext uri="{FF2B5EF4-FFF2-40B4-BE49-F238E27FC236}">
                <a16:creationId xmlns:a16="http://schemas.microsoft.com/office/drawing/2014/main" id="{B59D58A9-F149-46F9-8D95-13F431CDF2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149" y="3273571"/>
            <a:ext cx="266141" cy="266141"/>
          </a:xfrm>
          <a:prstGeom prst="rect">
            <a:avLst/>
          </a:prstGeom>
        </p:spPr>
      </p:pic>
      <p:pic>
        <p:nvPicPr>
          <p:cNvPr id="48" name="Image 20">
            <a:extLst>
              <a:ext uri="{FF2B5EF4-FFF2-40B4-BE49-F238E27FC236}">
                <a16:creationId xmlns:a16="http://schemas.microsoft.com/office/drawing/2014/main" id="{8F40F4E2-658F-4E02-B1E3-A10787344D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019" y="3115847"/>
            <a:ext cx="492139" cy="49213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29EDE7-0220-49CF-AE6E-E4D24627A6FB}"/>
              </a:ext>
            </a:extLst>
          </p:cNvPr>
          <p:cNvSpPr txBox="1"/>
          <p:nvPr/>
        </p:nvSpPr>
        <p:spPr>
          <a:xfrm>
            <a:off x="1866400" y="1923543"/>
            <a:ext cx="1906598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5 </a:t>
            </a:r>
            <a:r>
              <a:rPr lang="fr-CH" sz="1300" dirty="0" err="1"/>
              <a:t>Schools</a:t>
            </a: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2 </a:t>
            </a:r>
            <a:r>
              <a:rPr lang="fr-CH" sz="1300" dirty="0" err="1"/>
              <a:t>Colleges</a:t>
            </a: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21 instituts</a:t>
            </a:r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4 </a:t>
            </a:r>
            <a:r>
              <a:rPr lang="fr-CH" sz="1300" dirty="0" err="1"/>
              <a:t>EPFL’s</a:t>
            </a:r>
            <a:r>
              <a:rPr lang="fr-CH" sz="1300" dirty="0"/>
              <a:t> </a:t>
            </a:r>
            <a:r>
              <a:rPr lang="fr-CH" sz="1300" dirty="0" err="1"/>
              <a:t>associated</a:t>
            </a:r>
            <a:r>
              <a:rPr lang="fr-CH" sz="1300" dirty="0"/>
              <a:t> </a:t>
            </a:r>
            <a:r>
              <a:rPr lang="fr-CH" sz="1300" dirty="0" err="1"/>
              <a:t>campuses</a:t>
            </a: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endParaRPr lang="fr-CH" sz="1300" dirty="0"/>
          </a:p>
          <a:p>
            <a:pPr marL="214313" indent="-214313" algn="ctr">
              <a:buClr>
                <a:srgbClr val="E30613"/>
              </a:buClr>
              <a:buFont typeface="Wingdings" panose="05000000000000000000" pitchFamily="2" charset="2"/>
              <a:buChar char="Ø"/>
            </a:pP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6000 </a:t>
            </a:r>
            <a:r>
              <a:rPr lang="fr-CH" sz="1300" dirty="0" err="1"/>
              <a:t>collaborators</a:t>
            </a: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 err="1"/>
              <a:t>Including</a:t>
            </a:r>
            <a:r>
              <a:rPr lang="fr-CH" sz="1300" dirty="0"/>
              <a:t> 2000 PHD</a:t>
            </a:r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343 </a:t>
            </a:r>
            <a:r>
              <a:rPr lang="fr-CH" sz="1300" dirty="0" err="1"/>
              <a:t>professors</a:t>
            </a:r>
            <a:endParaRPr lang="fr-CH" sz="1300" dirty="0"/>
          </a:p>
          <a:p>
            <a:pPr marL="21431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12000 </a:t>
            </a:r>
            <a:r>
              <a:rPr lang="fr-CH" sz="1300" dirty="0" err="1"/>
              <a:t>students</a:t>
            </a:r>
            <a:endParaRPr lang="fr-CH" sz="13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115C49-1EC2-4056-A1D5-27EABD03C242}"/>
              </a:ext>
            </a:extLst>
          </p:cNvPr>
          <p:cNvSpPr txBox="1"/>
          <p:nvPr/>
        </p:nvSpPr>
        <p:spPr>
          <a:xfrm>
            <a:off x="5473669" y="1967176"/>
            <a:ext cx="3086536" cy="1848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VP for Academic </a:t>
            </a:r>
            <a:r>
              <a:rPr lang="fr-CH" sz="1300" dirty="0" err="1"/>
              <a:t>Affairs</a:t>
            </a:r>
            <a:endParaRPr lang="fr-CH" sz="1300" dirty="0"/>
          </a:p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VP for Operations</a:t>
            </a:r>
          </a:p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VP for Finances</a:t>
            </a:r>
          </a:p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VP for Innovation</a:t>
            </a:r>
          </a:p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r>
              <a:rPr lang="fr-CH" sz="1300" dirty="0"/>
              <a:t>VP for </a:t>
            </a:r>
            <a:r>
              <a:rPr lang="fr-CH" sz="1300" dirty="0" err="1"/>
              <a:t>Responsible</a:t>
            </a:r>
            <a:r>
              <a:rPr lang="fr-CH" sz="1300" dirty="0"/>
              <a:t> Transformation</a:t>
            </a:r>
          </a:p>
          <a:p>
            <a:pPr marL="1243013" lvl="3" indent="-214313">
              <a:buClr>
                <a:srgbClr val="E30613"/>
              </a:buClr>
              <a:buFont typeface="Wingdings" panose="05000000000000000000" pitchFamily="2" charset="2"/>
              <a:buChar char="Ø"/>
            </a:pPr>
            <a:endParaRPr lang="fr-CH" sz="1300" dirty="0"/>
          </a:p>
          <a:p>
            <a:endParaRPr lang="fr-CH" sz="1013" dirty="0"/>
          </a:p>
        </p:txBody>
      </p:sp>
      <p:pic>
        <p:nvPicPr>
          <p:cNvPr id="33" name="Image 29">
            <a:extLst>
              <a:ext uri="{FF2B5EF4-FFF2-40B4-BE49-F238E27FC236}">
                <a16:creationId xmlns:a16="http://schemas.microsoft.com/office/drawing/2014/main" id="{0E5B7B74-7870-4B82-9713-7FE35B8C981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90" y="2457341"/>
            <a:ext cx="1098910" cy="4759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3D0826-DDBF-4014-8822-8E75C36E519F}"/>
              </a:ext>
            </a:extLst>
          </p:cNvPr>
          <p:cNvSpPr txBox="1"/>
          <p:nvPr/>
        </p:nvSpPr>
        <p:spPr>
          <a:xfrm>
            <a:off x="4730423" y="2421707"/>
            <a:ext cx="15575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H" sz="1500" b="1" dirty="0">
                <a:solidFill>
                  <a:srgbClr val="FF0000"/>
                </a:solidFill>
                <a:latin typeface="Suisse Int'l EPFL Cond"/>
              </a:rPr>
              <a:t>The EPFL Direction 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C23A6D9-670A-4516-B34C-EB2C10B68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Manuel Cubero-Casta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02708BD-123E-49AE-B26B-484C8CF66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E1CD7C-2161-7D43-862E-CE4C333CD873}" type="slidenum">
              <a:rPr lang="fr-FR" smtClean="0"/>
              <a:t>3</a:t>
            </a:fld>
            <a:endParaRPr lang="fr-FR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3ACCD45-F554-3761-D76D-607C0696D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800" dirty="0" err="1"/>
              <a:t>LauzHack</a:t>
            </a:r>
            <a:r>
              <a:rPr lang="fr-FR" sz="800" dirty="0"/>
              <a:t> 2023 – EPFL Challenge</a:t>
            </a:r>
            <a:endParaRPr lang="fr-FR" dirty="0"/>
          </a:p>
        </p:txBody>
      </p:sp>
      <p:sp>
        <p:nvSpPr>
          <p:cNvPr id="9" name="Flèche : haut 8">
            <a:extLst>
              <a:ext uri="{FF2B5EF4-FFF2-40B4-BE49-F238E27FC236}">
                <a16:creationId xmlns:a16="http://schemas.microsoft.com/office/drawing/2014/main" id="{332676FF-262D-5B4F-664D-1FCC7751BA19}"/>
              </a:ext>
            </a:extLst>
          </p:cNvPr>
          <p:cNvSpPr/>
          <p:nvPr/>
        </p:nvSpPr>
        <p:spPr>
          <a:xfrm>
            <a:off x="7138785" y="3502305"/>
            <a:ext cx="407234" cy="714173"/>
          </a:xfrm>
          <a:prstGeom prst="up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462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>
            <a:extLst>
              <a:ext uri="{FF2B5EF4-FFF2-40B4-BE49-F238E27FC236}">
                <a16:creationId xmlns:a16="http://schemas.microsoft.com/office/drawing/2014/main" id="{C1671B1D-1CBF-4574-ACC2-39EC7D996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131032"/>
            <a:ext cx="5346513" cy="1072753"/>
          </a:xfrm>
        </p:spPr>
        <p:txBody>
          <a:bodyPr>
            <a:normAutofit/>
          </a:bodyPr>
          <a:lstStyle/>
          <a:p>
            <a:r>
              <a:rPr lang="fr-CH" dirty="0"/>
              <a:t>2019-20 : Strong pressure </a:t>
            </a:r>
            <a:r>
              <a:rPr lang="fr-CH" dirty="0" err="1"/>
              <a:t>from</a:t>
            </a:r>
            <a:r>
              <a:rPr lang="fr-CH" dirty="0"/>
              <a:t> </a:t>
            </a:r>
            <a:r>
              <a:rPr lang="fr-CH" dirty="0" err="1"/>
              <a:t>students</a:t>
            </a:r>
            <a:endParaRPr lang="fr-CH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B93B10A-ED1A-8846-97E5-AD42E8205C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8EF8F98-392F-EF4F-9223-2F5272E09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AFECB62-E718-184B-8A74-3DEFF7265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11" name="Espace réservé du contenu 10">
            <a:extLst>
              <a:ext uri="{FF2B5EF4-FFF2-40B4-BE49-F238E27FC236}">
                <a16:creationId xmlns:a16="http://schemas.microsoft.com/office/drawing/2014/main" id="{EE91B02B-334F-4D66-A943-FA067DF5B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7079" y="2015957"/>
            <a:ext cx="4331061" cy="288878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9C83C5D-DC4E-410A-B148-AB9083607E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20" t="6336" r="4011" b="9363"/>
          <a:stretch/>
        </p:blipFill>
        <p:spPr>
          <a:xfrm>
            <a:off x="7210604" y="294637"/>
            <a:ext cx="806415" cy="764831"/>
          </a:xfrm>
          <a:prstGeom prst="ellipse">
            <a:avLst/>
          </a:prstGeom>
        </p:spPr>
      </p:pic>
      <p:pic>
        <p:nvPicPr>
          <p:cNvPr id="13" name="Picture 9">
            <a:extLst>
              <a:ext uri="{FF2B5EF4-FFF2-40B4-BE49-F238E27FC236}">
                <a16:creationId xmlns:a16="http://schemas.microsoft.com/office/drawing/2014/main" id="{F1854F1B-0BA3-4BC8-832E-263B274272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629" y="4461129"/>
            <a:ext cx="1824236" cy="646512"/>
          </a:xfrm>
          <a:prstGeom prst="rect">
            <a:avLst/>
          </a:prstGeom>
        </p:spPr>
      </p:pic>
      <p:pic>
        <p:nvPicPr>
          <p:cNvPr id="14" name="Picture 11">
            <a:extLst>
              <a:ext uri="{FF2B5EF4-FFF2-40B4-BE49-F238E27FC236}">
                <a16:creationId xmlns:a16="http://schemas.microsoft.com/office/drawing/2014/main" id="{01DC3949-E228-45CC-8D0F-D75639C160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6047" y="4542354"/>
            <a:ext cx="1696261" cy="484061"/>
          </a:xfrm>
          <a:prstGeom prst="rect">
            <a:avLst/>
          </a:prstGeom>
        </p:spPr>
      </p:pic>
      <p:pic>
        <p:nvPicPr>
          <p:cNvPr id="15" name="Picture 2" descr="Résultat de recherche d'images pour &quot;logo agepoly&quot;">
            <a:extLst>
              <a:ext uri="{FF2B5EF4-FFF2-40B4-BE49-F238E27FC236}">
                <a16:creationId xmlns:a16="http://schemas.microsoft.com/office/drawing/2014/main" id="{54FFE188-DF43-4E5F-AFB9-7D9AA5C9AA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143" t="-36209" r="-7143" b="-50816"/>
          <a:stretch/>
        </p:blipFill>
        <p:spPr bwMode="auto">
          <a:xfrm>
            <a:off x="4506259" y="4448702"/>
            <a:ext cx="1761066" cy="6589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16" name="Picture 11">
            <a:extLst>
              <a:ext uri="{FF2B5EF4-FFF2-40B4-BE49-F238E27FC236}">
                <a16:creationId xmlns:a16="http://schemas.microsoft.com/office/drawing/2014/main" id="{4E71719B-1CFC-43D6-9EDD-90D32806E4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8648" y="3854913"/>
            <a:ext cx="1503635" cy="1252728"/>
          </a:xfrm>
          <a:prstGeom prst="rect">
            <a:avLst/>
          </a:prstGeom>
        </p:spPr>
      </p:pic>
      <p:pic>
        <p:nvPicPr>
          <p:cNvPr id="17" name="Picture 4" descr="Zero Emission Group: Research activities' carbon accounting ‒ SKIL ‐ EPFL">
            <a:extLst>
              <a:ext uri="{FF2B5EF4-FFF2-40B4-BE49-F238E27FC236}">
                <a16:creationId xmlns:a16="http://schemas.microsoft.com/office/drawing/2014/main" id="{E64128F7-601F-4AC1-9FFF-24D9815E1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552" y="1556315"/>
            <a:ext cx="1374587" cy="59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Global Earth Horizon Talk">
            <a:extLst>
              <a:ext uri="{FF2B5EF4-FFF2-40B4-BE49-F238E27FC236}">
                <a16:creationId xmlns:a16="http://schemas.microsoft.com/office/drawing/2014/main" id="{2A59D83A-8D8E-4B27-8BDE-42F370F3C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983" y="1569665"/>
            <a:ext cx="1435759" cy="500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Unipoly">
            <a:extLst>
              <a:ext uri="{FF2B5EF4-FFF2-40B4-BE49-F238E27FC236}">
                <a16:creationId xmlns:a16="http://schemas.microsoft.com/office/drawing/2014/main" id="{F0E637CF-F417-4814-9983-1FF8402CD0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024" y="1629502"/>
            <a:ext cx="1648850" cy="515838"/>
          </a:xfrm>
          <a:prstGeom prst="rect">
            <a:avLst/>
          </a:prstGeom>
          <a:solidFill>
            <a:srgbClr val="00B050"/>
          </a:solidFill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0BFB73F3-1917-40BA-97DD-2A0F5B802C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5388" y="2571750"/>
            <a:ext cx="1984771" cy="1596838"/>
          </a:xfrm>
          <a:prstGeom prst="rect">
            <a:avLst/>
          </a:prstGeom>
        </p:spPr>
      </p:pic>
      <p:pic>
        <p:nvPicPr>
          <p:cNvPr id="21" name="Picture 8">
            <a:extLst>
              <a:ext uri="{FF2B5EF4-FFF2-40B4-BE49-F238E27FC236}">
                <a16:creationId xmlns:a16="http://schemas.microsoft.com/office/drawing/2014/main" id="{A722209B-763D-4B42-AEEC-3C532B79CBC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63655" y="2669403"/>
            <a:ext cx="2426354" cy="899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098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50EB69BC-643E-0941-95B6-DE1244DDB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282" y="777426"/>
            <a:ext cx="1900572" cy="142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FED2170-066A-2A4A-AFD3-0467A7EDE4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532219" y="3397621"/>
            <a:ext cx="2926752" cy="1764070"/>
          </a:xfrm>
          <a:prstGeom prst="rect">
            <a:avLst/>
          </a:prstGeom>
        </p:spPr>
      </p:pic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65230327-4339-8647-BDD0-D5C6F2348A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19857" y="2275457"/>
            <a:ext cx="3099816" cy="123577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FR" dirty="0"/>
              <a:t>Help </a:t>
            </a:r>
            <a:r>
              <a:rPr lang="fr-FR" dirty="0" err="1"/>
              <a:t>accelerate</a:t>
            </a:r>
            <a:r>
              <a:rPr lang="fr-FR" dirty="0"/>
              <a:t> the transition to a </a:t>
            </a:r>
            <a:r>
              <a:rPr lang="fr-FR" b="1" dirty="0" err="1"/>
              <a:t>sustainable</a:t>
            </a:r>
            <a:r>
              <a:rPr lang="fr-FR" b="1" dirty="0"/>
              <a:t>, diverse, inclusive and </a:t>
            </a:r>
            <a:r>
              <a:rPr lang="fr-FR" b="1" dirty="0" err="1"/>
              <a:t>responsible</a:t>
            </a:r>
            <a:r>
              <a:rPr lang="fr-FR" b="1" dirty="0"/>
              <a:t> Campus</a:t>
            </a:r>
          </a:p>
          <a:p>
            <a:pPr marL="0" indent="0" algn="ctr">
              <a:buNone/>
            </a:pPr>
            <a:endParaRPr lang="fr-FR" b="1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EFCB6D-4B05-4088-A275-008776522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4" y="179552"/>
            <a:ext cx="8086725" cy="1072753"/>
          </a:xfrm>
        </p:spPr>
        <p:txBody>
          <a:bodyPr>
            <a:normAutofit/>
          </a:bodyPr>
          <a:lstStyle/>
          <a:p>
            <a:r>
              <a:rPr lang="fr-CH" sz="2800" dirty="0">
                <a:latin typeface="+mj-lt"/>
              </a:rPr>
              <a:t>VPT: Vice-Presidency for Responsible Transformatio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7F4FB2D-2646-4009-B687-2588B9731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22EF723-8111-4F15-BBEF-4555316A4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5</a:t>
            </a:fld>
            <a:endParaRPr lang="fr-F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0874B5-40C1-8245-85D9-7CF3002463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621094" y="2331471"/>
            <a:ext cx="1643692" cy="9245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BD49585-8380-F648-BFBF-C4CA1E035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917844" y="3397621"/>
            <a:ext cx="3230563" cy="174587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9C0B05-571F-2A42-9085-1F0A5695ED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41" t="1241" r="1241" b="1241"/>
          <a:stretch/>
        </p:blipFill>
        <p:spPr bwMode="auto">
          <a:xfrm>
            <a:off x="3188920" y="850028"/>
            <a:ext cx="1276028" cy="1264320"/>
          </a:xfrm>
          <a:prstGeom prst="ellipse">
            <a:avLst/>
          </a:prstGeom>
          <a:solidFill>
            <a:schemeClr val="tx1"/>
          </a:solidFill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id="{7F2070D2-0658-C146-AA4C-F465515046BA}"/>
              </a:ext>
            </a:extLst>
          </p:cNvPr>
          <p:cNvSpPr txBox="1">
            <a:spLocks/>
          </p:cNvSpPr>
          <p:nvPr/>
        </p:nvSpPr>
        <p:spPr>
          <a:xfrm>
            <a:off x="917845" y="667805"/>
            <a:ext cx="6630819" cy="1072753"/>
          </a:xfrm>
          <a:prstGeom prst="rect">
            <a:avLst/>
          </a:prstGeom>
        </p:spPr>
        <p:txBody>
          <a:bodyPr vert="horz" lIns="180000" tIns="0" rIns="72000" bIns="46800" rtlCol="0" anchor="t">
            <a:no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i="0" kern="1000" spc="-70" baseline="0">
                <a:solidFill>
                  <a:schemeClr val="tx1"/>
                </a:solidFill>
                <a:latin typeface="Franklin Gothic Demi Cond" panose="020B0706030402020204" pitchFamily="34" charset="0"/>
                <a:ea typeface="Roboto Black" panose="02000000000000000000" pitchFamily="2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endParaRPr lang="fr-FR" sz="1800" b="0" dirty="0"/>
          </a:p>
        </p:txBody>
      </p:sp>
      <p:pic>
        <p:nvPicPr>
          <p:cNvPr id="17" name="Content Placeholder 13">
            <a:extLst>
              <a:ext uri="{FF2B5EF4-FFF2-40B4-BE49-F238E27FC236}">
                <a16:creationId xmlns:a16="http://schemas.microsoft.com/office/drawing/2014/main" id="{4A0279B8-829B-1B46-BF1C-2449E48AD8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5486" y="2415923"/>
            <a:ext cx="2204036" cy="771412"/>
          </a:xfrm>
          <a:prstGeom prst="rect">
            <a:avLst/>
          </a:prstGeom>
        </p:spPr>
      </p:pic>
      <p:pic>
        <p:nvPicPr>
          <p:cNvPr id="18" name="Picture 7">
            <a:extLst>
              <a:ext uri="{FF2B5EF4-FFF2-40B4-BE49-F238E27FC236}">
                <a16:creationId xmlns:a16="http://schemas.microsoft.com/office/drawing/2014/main" id="{368190F0-77F5-2F49-8AB5-4B34D84EE9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7844" y="777426"/>
            <a:ext cx="1966345" cy="1425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1D1219C-8D6E-CF49-A1A7-1ADD098097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7293" y="3392306"/>
            <a:ext cx="2529888" cy="1814987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4D63F4EC-574C-514B-B0FF-F53407EA4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9370" y="777426"/>
            <a:ext cx="2535182" cy="14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Rentrée d'automne particulière, pour les étudiants, avec les consignes de sécurité strictes imposées par la Covid 19">
            <a:extLst>
              <a:ext uri="{FF2B5EF4-FFF2-40B4-BE49-F238E27FC236}">
                <a16:creationId xmlns:a16="http://schemas.microsoft.com/office/drawing/2014/main" id="{F4D90220-E4B2-CB42-9C8B-98454F8722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856"/>
          <a:stretch/>
        </p:blipFill>
        <p:spPr bwMode="auto">
          <a:xfrm>
            <a:off x="7196026" y="777426"/>
            <a:ext cx="1435212" cy="14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8877E9D-EEBE-ED43-91A3-3D2E30DCE2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-1221413" y="2778452"/>
            <a:ext cx="3341052" cy="911524"/>
          </a:xfrm>
        </p:spPr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679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814881" y="1023095"/>
            <a:ext cx="3944929" cy="4176702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Working for a more inclusive, green, smart and sustainable campus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Spreading our values: respect, equality, diversity, inclusion and sustainability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Preparing the student body to meet environmental challenges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Reduce the school's carbon footprint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Supporting work-life balance</a:t>
            </a:r>
            <a:endParaRPr lang="fr-CH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904875" y="177526"/>
            <a:ext cx="5276469" cy="1072753"/>
          </a:xfrm>
        </p:spPr>
        <p:txBody>
          <a:bodyPr vert="horz">
            <a:normAutofit/>
          </a:bodyPr>
          <a:lstStyle/>
          <a:p>
            <a:r>
              <a:rPr lang="fr-CH" dirty="0"/>
              <a:t>VPT Objective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700" b="0" i="0" u="none" strike="noStrike" kern="0" cap="none" spc="0" normalizeH="0" baseline="0" noProof="0" dirty="0">
                <a:ln>
                  <a:noFill/>
                </a:ln>
                <a:solidFill>
                  <a:srgbClr val="413C3A"/>
                </a:solidFill>
                <a:effectLst/>
                <a:uLnTx/>
                <a:uFillTx/>
                <a:latin typeface="Arial"/>
                <a:cs typeface="Arial"/>
              </a:rPr>
              <a:t>Manuel Cubero-Castan</a:t>
            </a:r>
            <a:endParaRPr kumimoji="0" lang="fr-FR" sz="700" b="0" i="0" u="none" strike="noStrike" kern="0" cap="none" spc="0" normalizeH="0" baseline="0" noProof="0" dirty="0">
              <a:ln>
                <a:noFill/>
              </a:ln>
              <a:solidFill>
                <a:srgbClr val="413C3A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E1CD7C-2161-7D43-862E-CE4C333CD873}" type="slidenum">
              <a:rPr kumimoji="0" lang="fr-FR" sz="700" b="1" i="0" u="none" strike="noStrike" kern="0" cap="none" spc="0" normalizeH="0" baseline="0" noProof="0" smtClean="0">
                <a:ln>
                  <a:noFill/>
                </a:ln>
                <a:solidFill>
                  <a:srgbClr val="413C3A"/>
                </a:solidFill>
                <a:effectLst/>
                <a:uLnTx/>
                <a:uFillTx/>
                <a:latin typeface="Franklin Gothic Demi Cond"/>
                <a:cs typeface="Arial"/>
              </a:rPr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700" b="1" i="0" u="none" strike="noStrike" kern="0" cap="none" spc="0" normalizeH="0" baseline="0" noProof="0">
              <a:ln>
                <a:noFill/>
              </a:ln>
              <a:solidFill>
                <a:srgbClr val="413C3A"/>
              </a:solidFill>
              <a:effectLst/>
              <a:uLnTx/>
              <a:uFillTx/>
              <a:latin typeface="Franklin Gothic Demi Cond"/>
              <a:cs typeface="Arial"/>
            </a:endParaRPr>
          </a:p>
        </p:txBody>
      </p:sp>
      <p:pic>
        <p:nvPicPr>
          <p:cNvPr id="17" name="Picture 2" descr="There is no planet B — Global Youth Coalition for Road Safety">
            <a:extLst>
              <a:ext uri="{FF2B5EF4-FFF2-40B4-BE49-F238E27FC236}">
                <a16:creationId xmlns:a16="http://schemas.microsoft.com/office/drawing/2014/main" id="{9E8B37A5-23F8-48D8-9C5A-1A99AF03FC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550"/>
          <a:stretch/>
        </p:blipFill>
        <p:spPr bwMode="auto">
          <a:xfrm>
            <a:off x="4833310" y="3177"/>
            <a:ext cx="3944930" cy="514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52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E7C549-0DB0-4247-A224-604984D9A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7877" y="0"/>
            <a:ext cx="2275831" cy="5143500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211B708E-5D66-AC4E-88EB-D50C6EC8E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131032"/>
            <a:ext cx="3667125" cy="502711"/>
          </a:xfrm>
        </p:spPr>
        <p:txBody>
          <a:bodyPr>
            <a:normAutofit fontScale="90000"/>
          </a:bodyPr>
          <a:lstStyle/>
          <a:p>
            <a:r>
              <a:rPr lang="fr-FR" dirty="0"/>
              <a:t>Point Smar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748F7D4-36A8-704E-AF37-08718846C3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020A50B-1D21-8C40-91A9-B311F6AF0B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FE2BFF2-E242-3048-A665-79FC4A427F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51A7BA4A-A922-4925-9A68-12DB1385DC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010" y="947920"/>
            <a:ext cx="5758867" cy="3386772"/>
          </a:xfrm>
        </p:spPr>
        <p:txBody>
          <a:bodyPr>
            <a:normAutofit fontScale="92500"/>
          </a:bodyPr>
          <a:lstStyle/>
          <a:p>
            <a:pPr>
              <a:lnSpc>
                <a:spcPct val="150000"/>
              </a:lnSpc>
            </a:pPr>
            <a:r>
              <a:rPr lang="fr-CH" dirty="0"/>
              <a:t>2023: Pilot phase for the projet</a:t>
            </a:r>
          </a:p>
          <a:p>
            <a:pPr lvl="1">
              <a:lnSpc>
                <a:spcPct val="150000"/>
              </a:lnSpc>
            </a:pPr>
            <a:r>
              <a:rPr lang="fr-CH" dirty="0" err="1"/>
              <a:t>Around</a:t>
            </a:r>
            <a:r>
              <a:rPr lang="fr-CH" dirty="0"/>
              <a:t> 300 smartphones </a:t>
            </a:r>
            <a:r>
              <a:rPr lang="fr-CH" dirty="0" err="1"/>
              <a:t>repared</a:t>
            </a:r>
            <a:endParaRPr lang="fr-CH" dirty="0"/>
          </a:p>
          <a:p>
            <a:pPr lvl="2">
              <a:lnSpc>
                <a:spcPct val="150000"/>
              </a:lnSpc>
            </a:pPr>
            <a:r>
              <a:rPr lang="fr-CH" dirty="0"/>
              <a:t>22 tons CO2eq if </a:t>
            </a:r>
            <a:r>
              <a:rPr lang="fr-CH" dirty="0" err="1"/>
              <a:t>purchased</a:t>
            </a:r>
            <a:r>
              <a:rPr lang="fr-CH" dirty="0"/>
              <a:t> </a:t>
            </a:r>
          </a:p>
          <a:p>
            <a:pPr lvl="1">
              <a:lnSpc>
                <a:spcPct val="150000"/>
              </a:lnSpc>
            </a:pPr>
            <a:r>
              <a:rPr lang="fr-CH" dirty="0" err="1"/>
              <a:t>Increasing</a:t>
            </a:r>
            <a:r>
              <a:rPr lang="fr-CH" dirty="0"/>
              <a:t> </a:t>
            </a:r>
            <a:r>
              <a:rPr lang="fr-CH" dirty="0" err="1"/>
              <a:t>lifetime</a:t>
            </a:r>
            <a:r>
              <a:rPr lang="fr-CH" dirty="0"/>
              <a:t> </a:t>
            </a:r>
            <a:r>
              <a:rPr lang="fr-CH" dirty="0" err="1"/>
              <a:t>from</a:t>
            </a:r>
            <a:r>
              <a:rPr lang="fr-CH" dirty="0"/>
              <a:t> 2 to 4 </a:t>
            </a:r>
            <a:r>
              <a:rPr lang="fr-CH" dirty="0" err="1"/>
              <a:t>years</a:t>
            </a:r>
            <a:r>
              <a:rPr lang="fr-CH" dirty="0"/>
              <a:t> on 17’000 people</a:t>
            </a:r>
          </a:p>
          <a:p>
            <a:pPr marL="685800" lvl="2" indent="0">
              <a:lnSpc>
                <a:spcPct val="150000"/>
              </a:lnSpc>
              <a:buNone/>
            </a:pPr>
            <a:r>
              <a:rPr lang="fr-CH" dirty="0">
                <a:sym typeface="Wingdings" panose="05000000000000000000" pitchFamily="2" charset="2"/>
              </a:rPr>
              <a:t> </a:t>
            </a:r>
            <a:r>
              <a:rPr lang="fr-CH" dirty="0"/>
              <a:t>320 tons CO2eq / an</a:t>
            </a:r>
          </a:p>
          <a:p>
            <a:pPr>
              <a:lnSpc>
                <a:spcPct val="150000"/>
              </a:lnSpc>
            </a:pPr>
            <a:r>
              <a:rPr lang="fr-CH" dirty="0" err="1"/>
              <a:t>Raising</a:t>
            </a:r>
            <a:r>
              <a:rPr lang="fr-CH" dirty="0"/>
              <a:t> </a:t>
            </a:r>
            <a:r>
              <a:rPr lang="fr-CH" dirty="0" err="1"/>
              <a:t>awareness</a:t>
            </a:r>
            <a:r>
              <a:rPr lang="fr-CH" dirty="0"/>
              <a:t> on maintenance of </a:t>
            </a:r>
            <a:r>
              <a:rPr lang="fr-CH" dirty="0" err="1"/>
              <a:t>our</a:t>
            </a:r>
            <a:r>
              <a:rPr lang="fr-CH" dirty="0"/>
              <a:t> IT hardware</a:t>
            </a:r>
          </a:p>
          <a:p>
            <a:pPr lvl="1">
              <a:lnSpc>
                <a:spcPct val="150000"/>
              </a:lnSpc>
            </a:pPr>
            <a:r>
              <a:rPr lang="fr-CH" dirty="0" err="1"/>
              <a:t>Increase</a:t>
            </a:r>
            <a:r>
              <a:rPr lang="fr-CH" dirty="0"/>
              <a:t> </a:t>
            </a:r>
            <a:r>
              <a:rPr lang="fr-CH" dirty="0" err="1"/>
              <a:t>lifetime</a:t>
            </a:r>
            <a:r>
              <a:rPr lang="fr-CH" dirty="0"/>
              <a:t> to </a:t>
            </a:r>
            <a:r>
              <a:rPr lang="fr-CH" dirty="0" err="1"/>
              <a:t>reduce</a:t>
            </a:r>
            <a:r>
              <a:rPr lang="fr-CH" dirty="0"/>
              <a:t> </a:t>
            </a:r>
            <a:r>
              <a:rPr lang="fr-CH" dirty="0" err="1"/>
              <a:t>environmental</a:t>
            </a:r>
            <a:r>
              <a:rPr lang="fr-CH" dirty="0"/>
              <a:t>/social impact</a:t>
            </a:r>
          </a:p>
          <a:p>
            <a:pPr lvl="1">
              <a:lnSpc>
                <a:spcPct val="150000"/>
              </a:lnSpc>
            </a:pPr>
            <a:r>
              <a:rPr lang="fr-CH" b="1" dirty="0" err="1"/>
              <a:t>R</a:t>
            </a:r>
            <a:r>
              <a:rPr lang="fr-CH" dirty="0" err="1"/>
              <a:t>epair</a:t>
            </a:r>
            <a:r>
              <a:rPr lang="fr-CH" dirty="0"/>
              <a:t> </a:t>
            </a:r>
            <a:r>
              <a:rPr lang="fr-CH" dirty="0" err="1"/>
              <a:t>before</a:t>
            </a:r>
            <a:r>
              <a:rPr lang="fr-CH" dirty="0"/>
              <a:t> </a:t>
            </a:r>
            <a:r>
              <a:rPr lang="fr-CH" b="1" dirty="0" err="1"/>
              <a:t>R</a:t>
            </a:r>
            <a:r>
              <a:rPr lang="fr-CH" dirty="0" err="1"/>
              <a:t>enew</a:t>
            </a:r>
            <a:endParaRPr lang="fr-CH" dirty="0"/>
          </a:p>
          <a:p>
            <a:pPr marL="0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0638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ogo Old But Gold - version téléphone">
            <a:extLst>
              <a:ext uri="{FF2B5EF4-FFF2-40B4-BE49-F238E27FC236}">
                <a16:creationId xmlns:a16="http://schemas.microsoft.com/office/drawing/2014/main" id="{844128B2-99F5-5C08-3C41-9690FA12A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3948" y="0"/>
            <a:ext cx="3923840" cy="229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211B708E-5D66-AC4E-88EB-D50C6EC8E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875" y="131032"/>
            <a:ext cx="3514725" cy="502711"/>
          </a:xfrm>
        </p:spPr>
        <p:txBody>
          <a:bodyPr>
            <a:normAutofit fontScale="90000"/>
          </a:bodyPr>
          <a:lstStyle/>
          <a:p>
            <a:r>
              <a:rPr lang="fr-FR" dirty="0"/>
              <a:t>Old But Gold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748F7D4-36A8-704E-AF37-08718846C3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 sz="700" dirty="0" err="1"/>
              <a:t>LauzHack</a:t>
            </a:r>
            <a:r>
              <a:rPr lang="fr-FR" sz="700" dirty="0"/>
              <a:t> 2023 – EPFL Challeng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020A50B-1D21-8C40-91A9-B311F6AF0B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FE2BFF2-E242-3048-A665-79FC4A427F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51A7BA4A-A922-4925-9A68-12DB1385DC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010" y="947920"/>
            <a:ext cx="5758867" cy="338677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fr-CH" dirty="0"/>
              <a:t>Contest for all EPFL </a:t>
            </a:r>
            <a:r>
              <a:rPr lang="fr-CH" dirty="0" err="1"/>
              <a:t>community</a:t>
            </a:r>
            <a:endParaRPr lang="fr-CH" dirty="0"/>
          </a:p>
          <a:p>
            <a:pPr lvl="1">
              <a:lnSpc>
                <a:spcPct val="150000"/>
              </a:lnSpc>
            </a:pPr>
            <a:r>
              <a:rPr lang="fr-CH" dirty="0" err="1"/>
              <a:t>Answer</a:t>
            </a:r>
            <a:r>
              <a:rPr lang="fr-CH" dirty="0"/>
              <a:t> few questions about </a:t>
            </a:r>
            <a:r>
              <a:rPr lang="fr-CH" dirty="0" err="1"/>
              <a:t>your</a:t>
            </a:r>
            <a:r>
              <a:rPr lang="fr-CH" dirty="0"/>
              <a:t> phone</a:t>
            </a:r>
          </a:p>
          <a:p>
            <a:pPr lvl="1">
              <a:lnSpc>
                <a:spcPct val="150000"/>
              </a:lnSpc>
            </a:pPr>
            <a:r>
              <a:rPr lang="fr-CH" dirty="0" err="1"/>
              <a:t>Random</a:t>
            </a:r>
            <a:r>
              <a:rPr lang="fr-CH" dirty="0"/>
              <a:t> </a:t>
            </a:r>
            <a:r>
              <a:rPr lang="fr-CH" dirty="0" err="1"/>
              <a:t>draw</a:t>
            </a:r>
            <a:r>
              <a:rPr lang="fr-CH" dirty="0"/>
              <a:t> </a:t>
            </a:r>
            <a:r>
              <a:rPr lang="fr-CH" dirty="0" err="1"/>
              <a:t>among</a:t>
            </a:r>
            <a:r>
              <a:rPr lang="fr-CH" dirty="0"/>
              <a:t> people</a:t>
            </a:r>
          </a:p>
          <a:p>
            <a:pPr>
              <a:lnSpc>
                <a:spcPct val="150000"/>
              </a:lnSpc>
            </a:pPr>
            <a:r>
              <a:rPr lang="fr-CH" dirty="0" err="1"/>
              <a:t>Better</a:t>
            </a:r>
            <a:r>
              <a:rPr lang="fr-CH" dirty="0"/>
              <a:t> chances to </a:t>
            </a:r>
            <a:r>
              <a:rPr lang="fr-CH" dirty="0" err="1"/>
              <a:t>win</a:t>
            </a:r>
            <a:r>
              <a:rPr lang="fr-CH" dirty="0"/>
              <a:t> if </a:t>
            </a:r>
            <a:r>
              <a:rPr lang="fr-CH" dirty="0" err="1"/>
              <a:t>your</a:t>
            </a:r>
            <a:r>
              <a:rPr lang="fr-CH" dirty="0"/>
              <a:t> phone </a:t>
            </a:r>
            <a:r>
              <a:rPr lang="fr-CH" dirty="0" err="1"/>
              <a:t>is</a:t>
            </a:r>
            <a:r>
              <a:rPr lang="fr-CH" dirty="0"/>
              <a:t> </a:t>
            </a:r>
            <a:r>
              <a:rPr lang="fr-CH" dirty="0" err="1"/>
              <a:t>old</a:t>
            </a:r>
            <a:endParaRPr lang="fr-CH" dirty="0"/>
          </a:p>
          <a:p>
            <a:pPr>
              <a:lnSpc>
                <a:spcPct val="150000"/>
              </a:lnSpc>
            </a:pPr>
            <a:r>
              <a:rPr lang="en-US" dirty="0"/>
              <a:t>From 15/11 to 8/12, take the chance to win !</a:t>
            </a:r>
          </a:p>
          <a:p>
            <a:pPr marL="0" indent="0">
              <a:lnSpc>
                <a:spcPct val="150000"/>
              </a:lnSpc>
              <a:buNone/>
            </a:pPr>
            <a:endParaRPr lang="fr-CH" dirty="0"/>
          </a:p>
          <a:p>
            <a:pPr marL="0" indent="0">
              <a:buNone/>
            </a:pPr>
            <a:endParaRPr lang="fr-CH" dirty="0"/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F75AE86E-7C9F-F8BD-05EB-899C27B3A73A}"/>
              </a:ext>
            </a:extLst>
          </p:cNvPr>
          <p:cNvSpPr txBox="1">
            <a:spLocks/>
          </p:cNvSpPr>
          <p:nvPr/>
        </p:nvSpPr>
        <p:spPr>
          <a:xfrm>
            <a:off x="3869375" y="3802380"/>
            <a:ext cx="5018244" cy="1118000"/>
          </a:xfrm>
          <a:prstGeom prst="rect">
            <a:avLst/>
          </a:prstGeom>
        </p:spPr>
        <p:txBody>
          <a:bodyPr vert="horz" lIns="18000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SzPct val="90000"/>
              <a:buFont typeface="Wingdings" pitchFamily="2" charset="2"/>
              <a:buChar char="§"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fr-CH" dirty="0"/>
              <a:t>Friday 15/12 at </a:t>
            </a:r>
            <a:r>
              <a:rPr lang="fr-CH" dirty="0" err="1"/>
              <a:t>noon</a:t>
            </a:r>
            <a:r>
              <a:rPr lang="fr-CH" dirty="0"/>
              <a:t> – </a:t>
            </a:r>
            <a:r>
              <a:rPr lang="fr-CH" dirty="0" err="1"/>
              <a:t>Award</a:t>
            </a:r>
            <a:r>
              <a:rPr lang="fr-CH" dirty="0"/>
              <a:t> </a:t>
            </a:r>
            <a:r>
              <a:rPr lang="fr-CH" dirty="0" err="1"/>
              <a:t>ceremony</a:t>
            </a:r>
            <a:endParaRPr lang="fr-CH" dirty="0"/>
          </a:p>
          <a:p>
            <a:pPr lvl="1">
              <a:lnSpc>
                <a:spcPct val="150000"/>
              </a:lnSpc>
            </a:pPr>
            <a:r>
              <a:rPr lang="fr-CH" dirty="0" err="1"/>
              <a:t>With</a:t>
            </a:r>
            <a:r>
              <a:rPr lang="fr-CH" dirty="0"/>
              <a:t> </a:t>
            </a:r>
            <a:r>
              <a:rPr lang="fr-CH" dirty="0" err="1"/>
              <a:t>games</a:t>
            </a:r>
            <a:r>
              <a:rPr lang="fr-CH" dirty="0"/>
              <a:t> and </a:t>
            </a:r>
            <a:r>
              <a:rPr lang="fr-CH" dirty="0" err="1"/>
              <a:t>other</a:t>
            </a:r>
            <a:r>
              <a:rPr lang="fr-CH" dirty="0"/>
              <a:t> </a:t>
            </a:r>
            <a:r>
              <a:rPr lang="fr-CH" dirty="0" err="1"/>
              <a:t>prices</a:t>
            </a:r>
            <a:endParaRPr lang="fr-CH" dirty="0"/>
          </a:p>
        </p:txBody>
      </p:sp>
      <p:pic>
        <p:nvPicPr>
          <p:cNvPr id="11" name="Image 10" descr="Une image contenant motif, carré, pixel, conception&#10;&#10;Description générée automatiquement">
            <a:extLst>
              <a:ext uri="{FF2B5EF4-FFF2-40B4-BE49-F238E27FC236}">
                <a16:creationId xmlns:a16="http://schemas.microsoft.com/office/drawing/2014/main" id="{67F9212F-34F4-2E81-DC2A-A3B5F6299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2705" y="3464849"/>
            <a:ext cx="1455531" cy="14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51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20AA01-5C19-A72D-C025-64D11EF37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H" dirty="0" err="1"/>
              <a:t>Climate</a:t>
            </a:r>
            <a:r>
              <a:rPr lang="fr-CH" dirty="0"/>
              <a:t> and Sustainability </a:t>
            </a:r>
            <a:r>
              <a:rPr lang="fr-CH" dirty="0" err="1"/>
              <a:t>Strategy</a:t>
            </a:r>
            <a:r>
              <a:rPr lang="fr-CH" dirty="0"/>
              <a:t>: A living document !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52EA06-A158-10F1-E14A-95D9F753E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dirty="0" err="1"/>
              <a:t>LauzHack</a:t>
            </a:r>
            <a:r>
              <a:rPr lang="fr-FR" dirty="0"/>
              <a:t> 2023 – EPFL Challeng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C3DDD85-3592-48B3-E06B-81838F676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Manuel Cubero-Casta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84783F5-470F-707C-09B7-2A479337B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1CD7C-2161-7D43-862E-CE4C333CD873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26" name="object 7">
            <a:extLst>
              <a:ext uri="{FF2B5EF4-FFF2-40B4-BE49-F238E27FC236}">
                <a16:creationId xmlns:a16="http://schemas.microsoft.com/office/drawing/2014/main" id="{052558DC-CAC9-2386-4164-8617EE23BD78}"/>
              </a:ext>
            </a:extLst>
          </p:cNvPr>
          <p:cNvSpPr txBox="1"/>
          <p:nvPr/>
        </p:nvSpPr>
        <p:spPr>
          <a:xfrm>
            <a:off x="1495509" y="812471"/>
            <a:ext cx="2243351" cy="2836642"/>
          </a:xfrm>
          <a:prstGeom prst="rect">
            <a:avLst/>
          </a:prstGeom>
        </p:spPr>
        <p:txBody>
          <a:bodyPr vert="horz" wrap="square" lIns="0" tIns="15716" rIns="0" bIns="0" rtlCol="0">
            <a:spAutoFit/>
          </a:bodyPr>
          <a:lstStyle/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articipative process from 2019 to 2022</a:t>
            </a: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013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 marR="3810">
              <a:spcBef>
                <a:spcPts val="124"/>
              </a:spcBef>
            </a:pPr>
            <a:endParaRPr lang="fr-CH" sz="78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3FC9CF98-C28A-C74C-5695-E3BBA740D926}"/>
              </a:ext>
            </a:extLst>
          </p:cNvPr>
          <p:cNvGrpSpPr/>
          <p:nvPr/>
        </p:nvGrpSpPr>
        <p:grpSpPr>
          <a:xfrm>
            <a:off x="5158741" y="942766"/>
            <a:ext cx="3076490" cy="1836204"/>
            <a:chOff x="4572001" y="645586"/>
            <a:chExt cx="3076490" cy="1836204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C50AA962-6160-9A4F-868B-BE61A9B60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72001" y="645586"/>
              <a:ext cx="3076490" cy="1836204"/>
            </a:xfrm>
            <a:prstGeom prst="rect">
              <a:avLst/>
            </a:prstGeom>
          </p:spPr>
        </p:pic>
        <p:pic>
          <p:nvPicPr>
            <p:cNvPr id="27" name="Slide">
              <a:extLst>
                <a:ext uri="{FF2B5EF4-FFF2-40B4-BE49-F238E27FC236}">
                  <a16:creationId xmlns:a16="http://schemas.microsoft.com/office/drawing/2014/main" id="{888CAA95-4559-4F65-9408-A2053C659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32607" y="770957"/>
              <a:ext cx="2155278" cy="1528901"/>
            </a:xfrm>
            <a:prstGeom prst="rect">
              <a:avLst/>
            </a:prstGeom>
          </p:spPr>
        </p:pic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14D542EF-66AB-B9AA-FC99-CE8E5945A12F}"/>
              </a:ext>
            </a:extLst>
          </p:cNvPr>
          <p:cNvSpPr txBox="1"/>
          <p:nvPr/>
        </p:nvSpPr>
        <p:spPr>
          <a:xfrm>
            <a:off x="5415904" y="3025326"/>
            <a:ext cx="2562164" cy="1595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published strategy on Sustainability issues</a:t>
            </a: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3838" marR="3810" indent="-214313">
              <a:spcBef>
                <a:spcPts val="124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t to evolve with time, becoming more precise and ambitious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1B4488D-05EF-E62D-471F-677461570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0345" y="1798564"/>
            <a:ext cx="2373098" cy="316538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9BFF469-263E-9110-89AD-551EAB3A52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406" y="2089219"/>
            <a:ext cx="2877299" cy="2584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11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EPFL - New Colors 2019">
      <a:dk1>
        <a:srgbClr val="413C3A"/>
      </a:dk1>
      <a:lt1>
        <a:srgbClr val="FFFFFF"/>
      </a:lt1>
      <a:dk2>
        <a:srgbClr val="413C3A"/>
      </a:dk2>
      <a:lt2>
        <a:srgbClr val="CAC7C7"/>
      </a:lt2>
      <a:accent1>
        <a:srgbClr val="E30613"/>
      </a:accent1>
      <a:accent2>
        <a:srgbClr val="00A79F"/>
      </a:accent2>
      <a:accent3>
        <a:srgbClr val="413C3A"/>
      </a:accent3>
      <a:accent4>
        <a:srgbClr val="007480"/>
      </a:accent4>
      <a:accent5>
        <a:srgbClr val="F39869"/>
      </a:accent5>
      <a:accent6>
        <a:srgbClr val="B51F1F"/>
      </a:accent6>
      <a:hlink>
        <a:srgbClr val="ED6E9C"/>
      </a:hlink>
      <a:folHlink>
        <a:srgbClr val="4F8FCC"/>
      </a:folHlink>
    </a:clrScheme>
    <a:fontScheme name="EPFL_Beta2">
      <a:majorFont>
        <a:latin typeface="Franklin Gothic Demi Cond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FL_General_presentation_202303_FR_FULL.potx" id="{2E31EB2B-14A5-4BCB-9B3B-FFAA5AD8FE84}" vid="{D71A30CA-243C-423A-A44B-49E4755B15CF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70607EC8C5E049BBD7635C6455F315" ma:contentTypeVersion="12" ma:contentTypeDescription="Crée un document." ma:contentTypeScope="" ma:versionID="da484476330898fc5e7646cc7b9ff163">
  <xsd:schema xmlns:xsd="http://www.w3.org/2001/XMLSchema" xmlns:xs="http://www.w3.org/2001/XMLSchema" xmlns:p="http://schemas.microsoft.com/office/2006/metadata/properties" xmlns:ns2="c4376854-57e1-4070-9c79-e56e3710ab0c" xmlns:ns3="9e5ddffc-b4a9-4cc5-8b62-99f93b157f76" targetNamespace="http://schemas.microsoft.com/office/2006/metadata/properties" ma:root="true" ma:fieldsID="f195f43efb7c0d60d7f709693943276b" ns2:_="" ns3:_="">
    <xsd:import namespace="c4376854-57e1-4070-9c79-e56e3710ab0c"/>
    <xsd:import namespace="9e5ddffc-b4a9-4cc5-8b62-99f93b157f7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376854-57e1-4070-9c79-e56e3710ab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alises d’images" ma:readOnly="false" ma:fieldId="{5cf76f15-5ced-4ddc-b409-7134ff3c332f}" ma:taxonomyMulti="true" ma:sspId="0221fbda-75be-4c33-b0c8-319ad1a5631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5ddffc-b4a9-4cc5-8b62-99f93b157f7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8363447e-8311-41c9-bcdd-5ff756c66c4c}" ma:internalName="TaxCatchAll" ma:showField="CatchAllData" ma:web="9e5ddffc-b4a9-4cc5-8b62-99f93b157f7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4376854-57e1-4070-9c79-e56e3710ab0c">
      <Terms xmlns="http://schemas.microsoft.com/office/infopath/2007/PartnerControls"/>
    </lcf76f155ced4ddcb4097134ff3c332f>
    <TaxCatchAll xmlns="9e5ddffc-b4a9-4cc5-8b62-99f93b157f76" xsi:nil="true"/>
  </documentManagement>
</p:properties>
</file>

<file path=customXml/itemProps1.xml><?xml version="1.0" encoding="utf-8"?>
<ds:datastoreItem xmlns:ds="http://schemas.openxmlformats.org/officeDocument/2006/customXml" ds:itemID="{6E06DC84-8E01-4F9C-8D0C-932E93F126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6CB712-438D-4B48-B3C0-0C83E09BF3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4376854-57e1-4070-9c79-e56e3710ab0c"/>
    <ds:schemaRef ds:uri="9e5ddffc-b4a9-4cc5-8b62-99f93b157f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209337E-621B-48AF-BCAF-5F8AAA2BED69}">
  <ds:schemaRefs>
    <ds:schemaRef ds:uri="9e5ddffc-b4a9-4cc5-8b62-99f93b157f76"/>
    <ds:schemaRef ds:uri="http://purl.org/dc/terms/"/>
    <ds:schemaRef ds:uri="http://purl.org/dc/dcmitype/"/>
    <ds:schemaRef ds:uri="c4376854-57e1-4070-9c79-e56e3710ab0c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FL_light_FR</Template>
  <TotalTime>0</TotalTime>
  <Words>573</Words>
  <Application>Microsoft Office PowerPoint</Application>
  <PresentationFormat>Affichage à l'écran (16:9)</PresentationFormat>
  <Paragraphs>127</Paragraphs>
  <Slides>1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19" baseType="lpstr">
      <vt:lpstr>Arial</vt:lpstr>
      <vt:lpstr>Calibri</vt:lpstr>
      <vt:lpstr>Franklin Gothic Demi Cond</vt:lpstr>
      <vt:lpstr>Suisse Int'l EPFL Cond</vt:lpstr>
      <vt:lpstr>Wingdings</vt:lpstr>
      <vt:lpstr>Thème Office</vt:lpstr>
      <vt:lpstr>Diapositive think-cell</vt:lpstr>
      <vt:lpstr>Help to get your voice into EPFL sustainability</vt:lpstr>
      <vt:lpstr>LauzHack   2023 – EPFL Challenge</vt:lpstr>
      <vt:lpstr>Présentation PowerPoint</vt:lpstr>
      <vt:lpstr>2019-20 : Strong pressure from students</vt:lpstr>
      <vt:lpstr>VPT: Vice-Presidency for Responsible Transformation</vt:lpstr>
      <vt:lpstr>VPT Objectives</vt:lpstr>
      <vt:lpstr>Point Smart</vt:lpstr>
      <vt:lpstr>Old But Gold</vt:lpstr>
      <vt:lpstr>Climate and Sustainability Strategy: A living document !</vt:lpstr>
      <vt:lpstr>Sustainability Challenge - Content</vt:lpstr>
      <vt:lpstr>Some idea around the challenge</vt:lpstr>
      <vt:lpstr>Merc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zHack   2023 – EPFL Challenge</dc:title>
  <dc:creator>Manuel Cubero-Castan</dc:creator>
  <cp:lastModifiedBy>Manuel Cubero-Castan</cp:lastModifiedBy>
  <cp:revision>4</cp:revision>
  <cp:lastPrinted>2019-06-19T13:21:30Z</cp:lastPrinted>
  <dcterms:created xsi:type="dcterms:W3CDTF">2023-11-02T09:29:28Z</dcterms:created>
  <dcterms:modified xsi:type="dcterms:W3CDTF">2023-12-01T17:4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70607EC8C5E049BBD7635C6455F315</vt:lpwstr>
  </property>
  <property fmtid="{D5CDD505-2E9C-101B-9397-08002B2CF9AE}" pid="3" name="MediaServiceImageTags">
    <vt:lpwstr/>
  </property>
</Properties>
</file>